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2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A8BF7-FB29-D1FF-E0E7-5461E0B7A0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018A12B-00FF-E776-85AF-DAD9AFDED5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18A12B-00FF-E776-85AF-DAD9AFDED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9CFE2E-8929-0019-5D9D-1283F8C1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ac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5FAF3C-C05C-0FEE-9777-51ED1650F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Shape 57">
            <a:extLst>
              <a:ext uri="{FF2B5EF4-FFF2-40B4-BE49-F238E27FC236}">
                <a16:creationId xmlns:a16="http://schemas.microsoft.com/office/drawing/2014/main" id="{B260D90C-3205-4F30-6DBA-7CC4BDB77C65}"/>
              </a:ext>
            </a:extLst>
          </p:cNvPr>
          <p:cNvSpPr>
            <a:spLocks/>
          </p:cNvSpPr>
          <p:nvPr/>
        </p:nvSpPr>
        <p:spPr bwMode="auto">
          <a:xfrm>
            <a:off x="3792174" y="1454194"/>
            <a:ext cx="1962091" cy="1962255"/>
          </a:xfrm>
          <a:custGeom>
            <a:avLst/>
            <a:gdLst>
              <a:gd name="T0" fmla="*/ 2147483646 w 19679"/>
              <a:gd name="T1" fmla="*/ 2147483646 h 20595"/>
              <a:gd name="T2" fmla="*/ 2147483646 w 19679"/>
              <a:gd name="T3" fmla="*/ 2147483646 h 20595"/>
              <a:gd name="T4" fmla="*/ 2147483646 w 19679"/>
              <a:gd name="T5" fmla="*/ 2147483646 h 20595"/>
              <a:gd name="T6" fmla="*/ 2147483646 w 19679"/>
              <a:gd name="T7" fmla="*/ 2147483646 h 20595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20595" extrusionOk="0">
                <a:moveTo>
                  <a:pt x="9839" y="0"/>
                </a:moveTo>
                <a:cubicBezTo>
                  <a:pt x="7321" y="0"/>
                  <a:pt x="4803" y="1005"/>
                  <a:pt x="2882" y="3016"/>
                </a:cubicBezTo>
                <a:cubicBezTo>
                  <a:pt x="-961" y="7037"/>
                  <a:pt x="-961" y="13557"/>
                  <a:pt x="2882" y="17579"/>
                </a:cubicBezTo>
                <a:cubicBezTo>
                  <a:pt x="6724" y="21600"/>
                  <a:pt x="12954" y="21600"/>
                  <a:pt x="16796" y="17579"/>
                </a:cubicBezTo>
                <a:cubicBezTo>
                  <a:pt x="20639" y="13557"/>
                  <a:pt x="20639" y="7037"/>
                  <a:pt x="16796" y="3016"/>
                </a:cubicBezTo>
                <a:cubicBezTo>
                  <a:pt x="14875" y="1005"/>
                  <a:pt x="12357" y="0"/>
                  <a:pt x="9839" y="0"/>
                </a:cubicBezTo>
                <a:close/>
                <a:moveTo>
                  <a:pt x="9839" y="1475"/>
                </a:moveTo>
                <a:cubicBezTo>
                  <a:pt x="11997" y="1475"/>
                  <a:pt x="14154" y="2336"/>
                  <a:pt x="15800" y="4059"/>
                </a:cubicBezTo>
                <a:cubicBezTo>
                  <a:pt x="19092" y="7505"/>
                  <a:pt x="19092" y="13092"/>
                  <a:pt x="15800" y="16538"/>
                </a:cubicBezTo>
                <a:cubicBezTo>
                  <a:pt x="12507" y="19984"/>
                  <a:pt x="7169" y="19984"/>
                  <a:pt x="3876" y="16538"/>
                </a:cubicBezTo>
                <a:cubicBezTo>
                  <a:pt x="584" y="13092"/>
                  <a:pt x="583" y="7505"/>
                  <a:pt x="3876" y="4059"/>
                </a:cubicBezTo>
                <a:cubicBezTo>
                  <a:pt x="5522" y="2336"/>
                  <a:pt x="7681" y="1475"/>
                  <a:pt x="9839" y="147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7" name="Shape 58">
            <a:extLst>
              <a:ext uri="{FF2B5EF4-FFF2-40B4-BE49-F238E27FC236}">
                <a16:creationId xmlns:a16="http://schemas.microsoft.com/office/drawing/2014/main" id="{2FFE713E-5CFC-41A5-C443-52E34F6F7C71}"/>
              </a:ext>
            </a:extLst>
          </p:cNvPr>
          <p:cNvSpPr>
            <a:spLocks/>
          </p:cNvSpPr>
          <p:nvPr/>
        </p:nvSpPr>
        <p:spPr bwMode="auto">
          <a:xfrm>
            <a:off x="6150160" y="1454194"/>
            <a:ext cx="1962091" cy="1962255"/>
          </a:xfrm>
          <a:custGeom>
            <a:avLst/>
            <a:gdLst>
              <a:gd name="T0" fmla="*/ 2147483646 w 19679"/>
              <a:gd name="T1" fmla="*/ 2147483646 h 20595"/>
              <a:gd name="T2" fmla="*/ 2147483646 w 19679"/>
              <a:gd name="T3" fmla="*/ 2147483646 h 20595"/>
              <a:gd name="T4" fmla="*/ 2147483646 w 19679"/>
              <a:gd name="T5" fmla="*/ 2147483646 h 20595"/>
              <a:gd name="T6" fmla="*/ 2147483646 w 19679"/>
              <a:gd name="T7" fmla="*/ 2147483646 h 20595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20595" extrusionOk="0">
                <a:moveTo>
                  <a:pt x="9839" y="0"/>
                </a:moveTo>
                <a:cubicBezTo>
                  <a:pt x="7321" y="0"/>
                  <a:pt x="4803" y="1005"/>
                  <a:pt x="2882" y="3016"/>
                </a:cubicBezTo>
                <a:cubicBezTo>
                  <a:pt x="-961" y="7037"/>
                  <a:pt x="-961" y="13557"/>
                  <a:pt x="2882" y="17579"/>
                </a:cubicBezTo>
                <a:cubicBezTo>
                  <a:pt x="6724" y="21600"/>
                  <a:pt x="12954" y="21600"/>
                  <a:pt x="16796" y="17579"/>
                </a:cubicBezTo>
                <a:cubicBezTo>
                  <a:pt x="20639" y="13557"/>
                  <a:pt x="20639" y="7037"/>
                  <a:pt x="16796" y="3016"/>
                </a:cubicBezTo>
                <a:cubicBezTo>
                  <a:pt x="14875" y="1005"/>
                  <a:pt x="12357" y="0"/>
                  <a:pt x="9839" y="0"/>
                </a:cubicBezTo>
                <a:close/>
                <a:moveTo>
                  <a:pt x="9839" y="1475"/>
                </a:moveTo>
                <a:cubicBezTo>
                  <a:pt x="11997" y="1475"/>
                  <a:pt x="14154" y="2336"/>
                  <a:pt x="15800" y="4059"/>
                </a:cubicBezTo>
                <a:cubicBezTo>
                  <a:pt x="19092" y="7505"/>
                  <a:pt x="19092" y="13092"/>
                  <a:pt x="15800" y="16538"/>
                </a:cubicBezTo>
                <a:cubicBezTo>
                  <a:pt x="12507" y="19984"/>
                  <a:pt x="7169" y="19984"/>
                  <a:pt x="3876" y="16538"/>
                </a:cubicBezTo>
                <a:cubicBezTo>
                  <a:pt x="584" y="13092"/>
                  <a:pt x="583" y="7505"/>
                  <a:pt x="3876" y="4059"/>
                </a:cubicBezTo>
                <a:cubicBezTo>
                  <a:pt x="5522" y="2336"/>
                  <a:pt x="7681" y="1475"/>
                  <a:pt x="9839" y="147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8" name="Shape 59">
            <a:extLst>
              <a:ext uri="{FF2B5EF4-FFF2-40B4-BE49-F238E27FC236}">
                <a16:creationId xmlns:a16="http://schemas.microsoft.com/office/drawing/2014/main" id="{872712F8-B84E-E55E-336C-2E3AA55599FC}"/>
              </a:ext>
            </a:extLst>
          </p:cNvPr>
          <p:cNvSpPr>
            <a:spLocks/>
          </p:cNvSpPr>
          <p:nvPr/>
        </p:nvSpPr>
        <p:spPr bwMode="auto">
          <a:xfrm>
            <a:off x="3793872" y="3691400"/>
            <a:ext cx="1962091" cy="1962255"/>
          </a:xfrm>
          <a:custGeom>
            <a:avLst/>
            <a:gdLst>
              <a:gd name="T0" fmla="*/ 2147483646 w 19679"/>
              <a:gd name="T1" fmla="*/ 2147483646 h 20595"/>
              <a:gd name="T2" fmla="*/ 2147483646 w 19679"/>
              <a:gd name="T3" fmla="*/ 2147483646 h 20595"/>
              <a:gd name="T4" fmla="*/ 2147483646 w 19679"/>
              <a:gd name="T5" fmla="*/ 2147483646 h 20595"/>
              <a:gd name="T6" fmla="*/ 2147483646 w 19679"/>
              <a:gd name="T7" fmla="*/ 2147483646 h 20595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20595" extrusionOk="0">
                <a:moveTo>
                  <a:pt x="9839" y="0"/>
                </a:moveTo>
                <a:cubicBezTo>
                  <a:pt x="7321" y="0"/>
                  <a:pt x="4803" y="1005"/>
                  <a:pt x="2882" y="3016"/>
                </a:cubicBezTo>
                <a:cubicBezTo>
                  <a:pt x="-961" y="7037"/>
                  <a:pt x="-961" y="13557"/>
                  <a:pt x="2882" y="17579"/>
                </a:cubicBezTo>
                <a:cubicBezTo>
                  <a:pt x="6724" y="21600"/>
                  <a:pt x="12954" y="21600"/>
                  <a:pt x="16796" y="17579"/>
                </a:cubicBezTo>
                <a:cubicBezTo>
                  <a:pt x="20639" y="13557"/>
                  <a:pt x="20639" y="7037"/>
                  <a:pt x="16796" y="3016"/>
                </a:cubicBezTo>
                <a:cubicBezTo>
                  <a:pt x="14875" y="1005"/>
                  <a:pt x="12357" y="0"/>
                  <a:pt x="9839" y="0"/>
                </a:cubicBezTo>
                <a:close/>
                <a:moveTo>
                  <a:pt x="9839" y="1475"/>
                </a:moveTo>
                <a:cubicBezTo>
                  <a:pt x="11997" y="1475"/>
                  <a:pt x="14154" y="2336"/>
                  <a:pt x="15800" y="4059"/>
                </a:cubicBezTo>
                <a:cubicBezTo>
                  <a:pt x="19092" y="7505"/>
                  <a:pt x="19092" y="13092"/>
                  <a:pt x="15800" y="16538"/>
                </a:cubicBezTo>
                <a:cubicBezTo>
                  <a:pt x="12507" y="19984"/>
                  <a:pt x="7169" y="19984"/>
                  <a:pt x="3876" y="16538"/>
                </a:cubicBezTo>
                <a:cubicBezTo>
                  <a:pt x="584" y="13092"/>
                  <a:pt x="583" y="7505"/>
                  <a:pt x="3876" y="4059"/>
                </a:cubicBezTo>
                <a:cubicBezTo>
                  <a:pt x="5522" y="2336"/>
                  <a:pt x="7681" y="1475"/>
                  <a:pt x="9839" y="147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9" name="Shape 60">
            <a:extLst>
              <a:ext uri="{FF2B5EF4-FFF2-40B4-BE49-F238E27FC236}">
                <a16:creationId xmlns:a16="http://schemas.microsoft.com/office/drawing/2014/main" id="{69F135F7-E156-C97B-48E5-50A38B86EA1D}"/>
              </a:ext>
            </a:extLst>
          </p:cNvPr>
          <p:cNvSpPr>
            <a:spLocks/>
          </p:cNvSpPr>
          <p:nvPr/>
        </p:nvSpPr>
        <p:spPr bwMode="auto">
          <a:xfrm>
            <a:off x="6151858" y="3691400"/>
            <a:ext cx="1962091" cy="1962255"/>
          </a:xfrm>
          <a:custGeom>
            <a:avLst/>
            <a:gdLst>
              <a:gd name="T0" fmla="*/ 2147483646 w 19679"/>
              <a:gd name="T1" fmla="*/ 2147483646 h 20595"/>
              <a:gd name="T2" fmla="*/ 2147483646 w 19679"/>
              <a:gd name="T3" fmla="*/ 2147483646 h 20595"/>
              <a:gd name="T4" fmla="*/ 2147483646 w 19679"/>
              <a:gd name="T5" fmla="*/ 2147483646 h 20595"/>
              <a:gd name="T6" fmla="*/ 2147483646 w 19679"/>
              <a:gd name="T7" fmla="*/ 2147483646 h 20595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20595" extrusionOk="0">
                <a:moveTo>
                  <a:pt x="9839" y="0"/>
                </a:moveTo>
                <a:cubicBezTo>
                  <a:pt x="7321" y="0"/>
                  <a:pt x="4803" y="1005"/>
                  <a:pt x="2882" y="3016"/>
                </a:cubicBezTo>
                <a:cubicBezTo>
                  <a:pt x="-961" y="7037"/>
                  <a:pt x="-961" y="13557"/>
                  <a:pt x="2882" y="17579"/>
                </a:cubicBezTo>
                <a:cubicBezTo>
                  <a:pt x="6724" y="21600"/>
                  <a:pt x="12954" y="21600"/>
                  <a:pt x="16796" y="17579"/>
                </a:cubicBezTo>
                <a:cubicBezTo>
                  <a:pt x="20639" y="13557"/>
                  <a:pt x="20639" y="7037"/>
                  <a:pt x="16796" y="3016"/>
                </a:cubicBezTo>
                <a:cubicBezTo>
                  <a:pt x="14875" y="1005"/>
                  <a:pt x="12357" y="0"/>
                  <a:pt x="9839" y="0"/>
                </a:cubicBezTo>
                <a:close/>
                <a:moveTo>
                  <a:pt x="9839" y="1475"/>
                </a:moveTo>
                <a:cubicBezTo>
                  <a:pt x="11997" y="1475"/>
                  <a:pt x="14154" y="2336"/>
                  <a:pt x="15800" y="4059"/>
                </a:cubicBezTo>
                <a:cubicBezTo>
                  <a:pt x="19092" y="7505"/>
                  <a:pt x="19092" y="13092"/>
                  <a:pt x="15800" y="16538"/>
                </a:cubicBezTo>
                <a:cubicBezTo>
                  <a:pt x="12507" y="19984"/>
                  <a:pt x="7169" y="19984"/>
                  <a:pt x="3876" y="16538"/>
                </a:cubicBezTo>
                <a:cubicBezTo>
                  <a:pt x="584" y="13092"/>
                  <a:pt x="583" y="7505"/>
                  <a:pt x="3876" y="4059"/>
                </a:cubicBezTo>
                <a:cubicBezTo>
                  <a:pt x="5522" y="2336"/>
                  <a:pt x="7681" y="1475"/>
                  <a:pt x="9839" y="147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50800" tIns="50800" rIns="50800" bIns="50800" anchor="ctr"/>
          <a:lstStyle/>
          <a:p>
            <a:endParaRPr lang="en-US" sz="1400" dirty="0"/>
          </a:p>
        </p:txBody>
      </p:sp>
      <p:sp>
        <p:nvSpPr>
          <p:cNvPr id="10" name="Shape 66">
            <a:extLst>
              <a:ext uri="{FF2B5EF4-FFF2-40B4-BE49-F238E27FC236}">
                <a16:creationId xmlns:a16="http://schemas.microsoft.com/office/drawing/2014/main" id="{860D5B37-1AA9-C875-151E-8785FF265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2" y="2265998"/>
            <a:ext cx="2616538" cy="26167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chemeClr val="tx1"/>
              </a:solidFill>
              <a:latin typeface="+mn-lt"/>
              <a:ea typeface="Helvetica Light" panose="020B0403020202020204" pitchFamily="34" charset="0"/>
              <a:cs typeface="Poppins" pitchFamily="2" charset="77"/>
              <a:sym typeface="Helvetica Light" panose="020B0403020202020204" pitchFamily="34" charset="0"/>
            </a:endParaRPr>
          </a:p>
        </p:txBody>
      </p:sp>
      <p:sp>
        <p:nvSpPr>
          <p:cNvPr id="11" name="Shape 62">
            <a:extLst>
              <a:ext uri="{FF2B5EF4-FFF2-40B4-BE49-F238E27FC236}">
                <a16:creationId xmlns:a16="http://schemas.microsoft.com/office/drawing/2014/main" id="{633F35BA-9318-A615-3637-147609BBAA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2876" y="1705019"/>
            <a:ext cx="1460575" cy="14607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chemeClr val="tx1"/>
              </a:solidFill>
              <a:latin typeface="+mn-lt"/>
              <a:ea typeface="Helvetica Light" panose="020B0403020202020204" pitchFamily="34" charset="0"/>
              <a:cs typeface="Poppins" pitchFamily="2" charset="77"/>
              <a:sym typeface="Helvetica Light" panose="020B0403020202020204" pitchFamily="34" charset="0"/>
            </a:endParaRPr>
          </a:p>
        </p:txBody>
      </p:sp>
      <p:sp>
        <p:nvSpPr>
          <p:cNvPr id="12" name="Shape 63">
            <a:extLst>
              <a:ext uri="{FF2B5EF4-FFF2-40B4-BE49-F238E27FC236}">
                <a16:creationId xmlns:a16="http://schemas.microsoft.com/office/drawing/2014/main" id="{78C17201-5B45-D7CE-9BF0-1A5876B51D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0861" y="1705019"/>
            <a:ext cx="1460575" cy="146070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chemeClr val="tx1"/>
              </a:solidFill>
              <a:latin typeface="+mn-lt"/>
              <a:ea typeface="Helvetica Light" panose="020B0403020202020204" pitchFamily="34" charset="0"/>
              <a:cs typeface="Poppins" pitchFamily="2" charset="77"/>
              <a:sym typeface="Helvetica Light" panose="020B0403020202020204" pitchFamily="34" charset="0"/>
            </a:endParaRPr>
          </a:p>
        </p:txBody>
      </p:sp>
      <p:sp>
        <p:nvSpPr>
          <p:cNvPr id="13" name="Shape 64">
            <a:extLst>
              <a:ext uri="{FF2B5EF4-FFF2-40B4-BE49-F238E27FC236}">
                <a16:creationId xmlns:a16="http://schemas.microsoft.com/office/drawing/2014/main" id="{72CB2116-3E91-5DBC-D97B-442A7300D5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4574" y="3942226"/>
            <a:ext cx="1460576" cy="146070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chemeClr val="tx1"/>
              </a:solidFill>
              <a:latin typeface="+mn-lt"/>
              <a:ea typeface="Helvetica Light" panose="020B0403020202020204" pitchFamily="34" charset="0"/>
              <a:cs typeface="Poppins" pitchFamily="2" charset="77"/>
              <a:sym typeface="Helvetica Light" panose="020B0403020202020204" pitchFamily="34" charset="0"/>
            </a:endParaRPr>
          </a:p>
        </p:txBody>
      </p:sp>
      <p:sp>
        <p:nvSpPr>
          <p:cNvPr id="14" name="Shape 65">
            <a:extLst>
              <a:ext uri="{FF2B5EF4-FFF2-40B4-BE49-F238E27FC236}">
                <a16:creationId xmlns:a16="http://schemas.microsoft.com/office/drawing/2014/main" id="{EAC5B82A-BA5B-218B-5F99-F3542009FE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2559" y="3942226"/>
            <a:ext cx="1460576" cy="146070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50800" tIns="50800" rIns="50800" bIns="50800" anchor="ctr"/>
          <a:lstStyle>
            <a:lvl1pPr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n-US" altLang="en-US" sz="2400" dirty="0">
              <a:solidFill>
                <a:schemeClr val="tx1"/>
              </a:solidFill>
              <a:latin typeface="+mn-lt"/>
              <a:ea typeface="Helvetica Light" panose="020B0403020202020204" pitchFamily="34" charset="0"/>
              <a:cs typeface="Poppins" pitchFamily="2" charset="77"/>
              <a:sym typeface="Helvetica Light" panose="020B0403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A4A9D0A-9B01-3A49-0CC3-06DB256905E6}"/>
              </a:ext>
            </a:extLst>
          </p:cNvPr>
          <p:cNvSpPr txBox="1"/>
          <p:nvPr/>
        </p:nvSpPr>
        <p:spPr>
          <a:xfrm>
            <a:off x="8362953" y="2380482"/>
            <a:ext cx="27371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F3A06-0894-51FD-F7ED-BF25BDA38525}"/>
              </a:ext>
            </a:extLst>
          </p:cNvPr>
          <p:cNvSpPr/>
          <p:nvPr/>
        </p:nvSpPr>
        <p:spPr>
          <a:xfrm>
            <a:off x="8362953" y="2001621"/>
            <a:ext cx="17400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8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7453DC0-1B12-189B-3845-86DD7ADD30CD}"/>
              </a:ext>
            </a:extLst>
          </p:cNvPr>
          <p:cNvSpPr txBox="1"/>
          <p:nvPr/>
        </p:nvSpPr>
        <p:spPr>
          <a:xfrm flipH="1">
            <a:off x="824213" y="2380482"/>
            <a:ext cx="27400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8930B7C-39D6-373C-9C2E-DDA0D5210EE8}"/>
              </a:ext>
            </a:extLst>
          </p:cNvPr>
          <p:cNvSpPr/>
          <p:nvPr/>
        </p:nvSpPr>
        <p:spPr>
          <a:xfrm flipH="1">
            <a:off x="1824250" y="2001621"/>
            <a:ext cx="17400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8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7BB4045-90B5-6959-99C8-8BC1CE1A2D9A}"/>
              </a:ext>
            </a:extLst>
          </p:cNvPr>
          <p:cNvSpPr txBox="1"/>
          <p:nvPr/>
        </p:nvSpPr>
        <p:spPr>
          <a:xfrm>
            <a:off x="8362953" y="4657797"/>
            <a:ext cx="27371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EE9A522-0A36-6B86-8D90-01DEF1E03748}"/>
              </a:ext>
            </a:extLst>
          </p:cNvPr>
          <p:cNvSpPr/>
          <p:nvPr/>
        </p:nvSpPr>
        <p:spPr>
          <a:xfrm>
            <a:off x="8362953" y="4278936"/>
            <a:ext cx="21287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8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FD42938-F92E-A81B-656E-0939FAF49D7D}"/>
              </a:ext>
            </a:extLst>
          </p:cNvPr>
          <p:cNvSpPr txBox="1"/>
          <p:nvPr/>
        </p:nvSpPr>
        <p:spPr>
          <a:xfrm flipH="1">
            <a:off x="824213" y="4657797"/>
            <a:ext cx="27400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Text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US" sz="1800" dirty="0" err="1">
                <a:ea typeface="Lato Light" panose="020F0502020204030203" pitchFamily="34" charset="0"/>
                <a:cs typeface="Lato Light" panose="020F0502020204030203" pitchFamily="34" charset="0"/>
              </a:rPr>
              <a:t>Text</a:t>
            </a:r>
            <a:r>
              <a:rPr lang="en-US" sz="1800" dirty="0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2F2B387-C4A7-7C96-56A8-97DA0EC3BA04}"/>
              </a:ext>
            </a:extLst>
          </p:cNvPr>
          <p:cNvSpPr/>
          <p:nvPr/>
        </p:nvSpPr>
        <p:spPr>
          <a:xfrm flipH="1">
            <a:off x="1824250" y="4278936"/>
            <a:ext cx="17400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ea typeface="Roboto Medium" panose="02000000000000000000" pitchFamily="2" charset="0"/>
                <a:cs typeface="Poppins" pitchFamily="2" charset="77"/>
              </a:rPr>
              <a:t>Header</a:t>
            </a:r>
            <a:endParaRPr lang="en-US" sz="4800" b="1" dirty="0"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19" name="Forma libre 9">
            <a:extLst>
              <a:ext uri="{FF2B5EF4-FFF2-40B4-BE49-F238E27FC236}">
                <a16:creationId xmlns:a16="http://schemas.microsoft.com/office/drawing/2014/main" id="{70413165-9173-870C-A25A-300A2B20C7AC}"/>
              </a:ext>
            </a:extLst>
          </p:cNvPr>
          <p:cNvSpPr/>
          <p:nvPr/>
        </p:nvSpPr>
        <p:spPr>
          <a:xfrm>
            <a:off x="6841197" y="2137811"/>
            <a:ext cx="608830" cy="583532"/>
          </a:xfrm>
          <a:custGeom>
            <a:avLst/>
            <a:gdLst>
              <a:gd name="connsiteX0" fmla="*/ 530392 w 533104"/>
              <a:gd name="connsiteY0" fmla="*/ 361477 h 510953"/>
              <a:gd name="connsiteX1" fmla="*/ 530171 w 533104"/>
              <a:gd name="connsiteY1" fmla="*/ 360887 h 510953"/>
              <a:gd name="connsiteX2" fmla="*/ 509644 w 533104"/>
              <a:gd name="connsiteY2" fmla="*/ 338292 h 510953"/>
              <a:gd name="connsiteX3" fmla="*/ 479223 w 533104"/>
              <a:gd name="connsiteY3" fmla="*/ 336742 h 510953"/>
              <a:gd name="connsiteX4" fmla="*/ 381389 w 533104"/>
              <a:gd name="connsiteY4" fmla="*/ 374177 h 510953"/>
              <a:gd name="connsiteX5" fmla="*/ 345135 w 533104"/>
              <a:gd name="connsiteY5" fmla="*/ 348039 h 510953"/>
              <a:gd name="connsiteX6" fmla="*/ 344027 w 533104"/>
              <a:gd name="connsiteY6" fmla="*/ 348039 h 510953"/>
              <a:gd name="connsiteX7" fmla="*/ 386853 w 533104"/>
              <a:gd name="connsiteY7" fmla="*/ 256407 h 510953"/>
              <a:gd name="connsiteX8" fmla="*/ 374079 w 533104"/>
              <a:gd name="connsiteY8" fmla="*/ 202653 h 510953"/>
              <a:gd name="connsiteX9" fmla="*/ 387148 w 533104"/>
              <a:gd name="connsiteY9" fmla="*/ 202949 h 510953"/>
              <a:gd name="connsiteX10" fmla="*/ 416757 w 533104"/>
              <a:gd name="connsiteY10" fmla="*/ 202949 h 510953"/>
              <a:gd name="connsiteX11" fmla="*/ 447842 w 533104"/>
              <a:gd name="connsiteY11" fmla="*/ 235511 h 510953"/>
              <a:gd name="connsiteX12" fmla="*/ 489339 w 533104"/>
              <a:gd name="connsiteY12" fmla="*/ 236028 h 510953"/>
              <a:gd name="connsiteX13" fmla="*/ 489486 w 533104"/>
              <a:gd name="connsiteY13" fmla="*/ 236028 h 510953"/>
              <a:gd name="connsiteX14" fmla="*/ 502777 w 533104"/>
              <a:gd name="connsiteY14" fmla="*/ 222885 h 510953"/>
              <a:gd name="connsiteX15" fmla="*/ 489634 w 533104"/>
              <a:gd name="connsiteY15" fmla="*/ 209446 h 510953"/>
              <a:gd name="connsiteX16" fmla="*/ 448137 w 533104"/>
              <a:gd name="connsiteY16" fmla="*/ 208930 h 510953"/>
              <a:gd name="connsiteX17" fmla="*/ 442895 w 533104"/>
              <a:gd name="connsiteY17" fmla="*/ 196599 h 510953"/>
              <a:gd name="connsiteX18" fmla="*/ 444593 w 533104"/>
              <a:gd name="connsiteY18" fmla="*/ 55348 h 510953"/>
              <a:gd name="connsiteX19" fmla="*/ 447621 w 533104"/>
              <a:gd name="connsiteY19" fmla="*/ 45159 h 510953"/>
              <a:gd name="connsiteX20" fmla="*/ 450131 w 533104"/>
              <a:gd name="connsiteY20" fmla="*/ 43165 h 510953"/>
              <a:gd name="connsiteX21" fmla="*/ 450131 w 533104"/>
              <a:gd name="connsiteY21" fmla="*/ 43165 h 510953"/>
              <a:gd name="connsiteX22" fmla="*/ 491628 w 533104"/>
              <a:gd name="connsiteY22" fmla="*/ 43682 h 510953"/>
              <a:gd name="connsiteX23" fmla="*/ 505066 w 533104"/>
              <a:gd name="connsiteY23" fmla="*/ 30539 h 510953"/>
              <a:gd name="connsiteX24" fmla="*/ 491923 w 533104"/>
              <a:gd name="connsiteY24" fmla="*/ 17101 h 510953"/>
              <a:gd name="connsiteX25" fmla="*/ 450426 w 533104"/>
              <a:gd name="connsiteY25" fmla="*/ 16584 h 510953"/>
              <a:gd name="connsiteX26" fmla="*/ 426355 w 533104"/>
              <a:gd name="connsiteY26" fmla="*/ 29210 h 510953"/>
              <a:gd name="connsiteX27" fmla="*/ 418233 w 533104"/>
              <a:gd name="connsiteY27" fmla="*/ 51066 h 510953"/>
              <a:gd name="connsiteX28" fmla="*/ 412548 w 533104"/>
              <a:gd name="connsiteY28" fmla="*/ 50549 h 510953"/>
              <a:gd name="connsiteX29" fmla="*/ 412105 w 533104"/>
              <a:gd name="connsiteY29" fmla="*/ 50549 h 510953"/>
              <a:gd name="connsiteX30" fmla="*/ 320547 w 533104"/>
              <a:gd name="connsiteY30" fmla="*/ 21531 h 510953"/>
              <a:gd name="connsiteX31" fmla="*/ 244642 w 533104"/>
              <a:gd name="connsiteY31" fmla="*/ 1816 h 510953"/>
              <a:gd name="connsiteX32" fmla="*/ 126503 w 533104"/>
              <a:gd name="connsiteY32" fmla="*/ 53133 h 510953"/>
              <a:gd name="connsiteX33" fmla="*/ 25715 w 533104"/>
              <a:gd name="connsiteY33" fmla="*/ 100389 h 510953"/>
              <a:gd name="connsiteX34" fmla="*/ 4302 w 533104"/>
              <a:gd name="connsiteY34" fmla="*/ 120251 h 510953"/>
              <a:gd name="connsiteX35" fmla="*/ 2825 w 533104"/>
              <a:gd name="connsiteY35" fmla="*/ 150081 h 510953"/>
              <a:gd name="connsiteX36" fmla="*/ 3047 w 533104"/>
              <a:gd name="connsiteY36" fmla="*/ 150746 h 510953"/>
              <a:gd name="connsiteX37" fmla="*/ 23573 w 533104"/>
              <a:gd name="connsiteY37" fmla="*/ 173340 h 510953"/>
              <a:gd name="connsiteX38" fmla="*/ 40630 w 533104"/>
              <a:gd name="connsiteY38" fmla="*/ 177180 h 510953"/>
              <a:gd name="connsiteX39" fmla="*/ 53994 w 533104"/>
              <a:gd name="connsiteY39" fmla="*/ 174817 h 510953"/>
              <a:gd name="connsiteX40" fmla="*/ 151829 w 533104"/>
              <a:gd name="connsiteY40" fmla="*/ 137381 h 510953"/>
              <a:gd name="connsiteX41" fmla="*/ 160320 w 533104"/>
              <a:gd name="connsiteY41" fmla="*/ 151041 h 510953"/>
              <a:gd name="connsiteX42" fmla="*/ 188157 w 533104"/>
              <a:gd name="connsiteY42" fmla="*/ 163446 h 510953"/>
              <a:gd name="connsiteX43" fmla="*/ 189264 w 533104"/>
              <a:gd name="connsiteY43" fmla="*/ 163446 h 510953"/>
              <a:gd name="connsiteX44" fmla="*/ 192292 w 533104"/>
              <a:gd name="connsiteY44" fmla="*/ 163298 h 510953"/>
              <a:gd name="connsiteX45" fmla="*/ 147620 w 533104"/>
              <a:gd name="connsiteY45" fmla="*/ 256481 h 510953"/>
              <a:gd name="connsiteX46" fmla="*/ 159729 w 533104"/>
              <a:gd name="connsiteY46" fmla="*/ 308905 h 510953"/>
              <a:gd name="connsiteX47" fmla="*/ 146143 w 533104"/>
              <a:gd name="connsiteY47" fmla="*/ 308610 h 510953"/>
              <a:gd name="connsiteX48" fmla="*/ 116461 w 533104"/>
              <a:gd name="connsiteY48" fmla="*/ 308610 h 510953"/>
              <a:gd name="connsiteX49" fmla="*/ 109151 w 533104"/>
              <a:gd name="connsiteY49" fmla="*/ 289264 h 510953"/>
              <a:gd name="connsiteX50" fmla="*/ 85375 w 533104"/>
              <a:gd name="connsiteY50" fmla="*/ 276048 h 510953"/>
              <a:gd name="connsiteX51" fmla="*/ 43879 w 533104"/>
              <a:gd name="connsiteY51" fmla="*/ 275531 h 510953"/>
              <a:gd name="connsiteX52" fmla="*/ 30440 w 533104"/>
              <a:gd name="connsiteY52" fmla="*/ 288674 h 510953"/>
              <a:gd name="connsiteX53" fmla="*/ 43583 w 533104"/>
              <a:gd name="connsiteY53" fmla="*/ 302112 h 510953"/>
              <a:gd name="connsiteX54" fmla="*/ 85080 w 533104"/>
              <a:gd name="connsiteY54" fmla="*/ 302629 h 510953"/>
              <a:gd name="connsiteX55" fmla="*/ 87517 w 533104"/>
              <a:gd name="connsiteY55" fmla="*/ 304696 h 510953"/>
              <a:gd name="connsiteX56" fmla="*/ 90322 w 533104"/>
              <a:gd name="connsiteY56" fmla="*/ 314960 h 510953"/>
              <a:gd name="connsiteX57" fmla="*/ 88624 w 533104"/>
              <a:gd name="connsiteY57" fmla="*/ 456210 h 510953"/>
              <a:gd name="connsiteX58" fmla="*/ 83086 w 533104"/>
              <a:gd name="connsiteY58" fmla="*/ 468394 h 510953"/>
              <a:gd name="connsiteX59" fmla="*/ 83086 w 533104"/>
              <a:gd name="connsiteY59" fmla="*/ 468394 h 510953"/>
              <a:gd name="connsiteX60" fmla="*/ 41590 w 533104"/>
              <a:gd name="connsiteY60" fmla="*/ 467877 h 510953"/>
              <a:gd name="connsiteX61" fmla="*/ 28151 w 533104"/>
              <a:gd name="connsiteY61" fmla="*/ 481020 h 510953"/>
              <a:gd name="connsiteX62" fmla="*/ 41294 w 533104"/>
              <a:gd name="connsiteY62" fmla="*/ 494458 h 510953"/>
              <a:gd name="connsiteX63" fmla="*/ 82791 w 533104"/>
              <a:gd name="connsiteY63" fmla="*/ 494975 h 510953"/>
              <a:gd name="connsiteX64" fmla="*/ 83160 w 533104"/>
              <a:gd name="connsiteY64" fmla="*/ 494975 h 510953"/>
              <a:gd name="connsiteX65" fmla="*/ 115058 w 533104"/>
              <a:gd name="connsiteY65" fmla="*/ 460493 h 510953"/>
              <a:gd name="connsiteX66" fmla="*/ 120743 w 533104"/>
              <a:gd name="connsiteY66" fmla="*/ 461010 h 510953"/>
              <a:gd name="connsiteX67" fmla="*/ 121186 w 533104"/>
              <a:gd name="connsiteY67" fmla="*/ 461010 h 510953"/>
              <a:gd name="connsiteX68" fmla="*/ 212744 w 533104"/>
              <a:gd name="connsiteY68" fmla="*/ 490028 h 510953"/>
              <a:gd name="connsiteX69" fmla="*/ 276244 w 533104"/>
              <a:gd name="connsiteY69" fmla="*/ 510998 h 510953"/>
              <a:gd name="connsiteX70" fmla="*/ 288649 w 533104"/>
              <a:gd name="connsiteY70" fmla="*/ 509742 h 510953"/>
              <a:gd name="connsiteX71" fmla="*/ 406789 w 533104"/>
              <a:gd name="connsiteY71" fmla="*/ 458426 h 510953"/>
              <a:gd name="connsiteX72" fmla="*/ 507576 w 533104"/>
              <a:gd name="connsiteY72" fmla="*/ 411170 h 510953"/>
              <a:gd name="connsiteX73" fmla="*/ 528989 w 533104"/>
              <a:gd name="connsiteY73" fmla="*/ 391308 h 510953"/>
              <a:gd name="connsiteX74" fmla="*/ 530392 w 533104"/>
              <a:gd name="connsiteY74" fmla="*/ 361477 h 510953"/>
              <a:gd name="connsiteX75" fmla="*/ 188304 w 533104"/>
              <a:gd name="connsiteY75" fmla="*/ 136864 h 510953"/>
              <a:gd name="connsiteX76" fmla="*/ 175900 w 533104"/>
              <a:gd name="connsiteY76" fmla="*/ 123278 h 510953"/>
              <a:gd name="connsiteX77" fmla="*/ 180035 w 533104"/>
              <a:gd name="connsiteY77" fmla="*/ 114049 h 510953"/>
              <a:gd name="connsiteX78" fmla="*/ 189486 w 533104"/>
              <a:gd name="connsiteY78" fmla="*/ 110431 h 510953"/>
              <a:gd name="connsiteX79" fmla="*/ 189633 w 533104"/>
              <a:gd name="connsiteY79" fmla="*/ 110431 h 510953"/>
              <a:gd name="connsiteX80" fmla="*/ 287837 w 533104"/>
              <a:gd name="connsiteY80" fmla="*/ 112129 h 510953"/>
              <a:gd name="connsiteX81" fmla="*/ 298839 w 533104"/>
              <a:gd name="connsiteY81" fmla="*/ 106591 h 510953"/>
              <a:gd name="connsiteX82" fmla="*/ 311539 w 533104"/>
              <a:gd name="connsiteY82" fmla="*/ 88944 h 510953"/>
              <a:gd name="connsiteX83" fmla="*/ 308511 w 533104"/>
              <a:gd name="connsiteY83" fmla="*/ 70411 h 510953"/>
              <a:gd name="connsiteX84" fmla="*/ 289978 w 533104"/>
              <a:gd name="connsiteY84" fmla="*/ 73438 h 510953"/>
              <a:gd name="connsiteX85" fmla="*/ 281339 w 533104"/>
              <a:gd name="connsiteY85" fmla="*/ 85400 h 510953"/>
              <a:gd name="connsiteX86" fmla="*/ 190150 w 533104"/>
              <a:gd name="connsiteY86" fmla="*/ 83776 h 510953"/>
              <a:gd name="connsiteX87" fmla="*/ 161797 w 533104"/>
              <a:gd name="connsiteY87" fmla="*/ 94630 h 510953"/>
              <a:gd name="connsiteX88" fmla="*/ 152346 w 533104"/>
              <a:gd name="connsiteY88" fmla="*/ 108289 h 510953"/>
              <a:gd name="connsiteX89" fmla="*/ 44913 w 533104"/>
              <a:gd name="connsiteY89" fmla="*/ 149564 h 510953"/>
              <a:gd name="connsiteX90" fmla="*/ 34871 w 533104"/>
              <a:gd name="connsiteY90" fmla="*/ 149048 h 510953"/>
              <a:gd name="connsiteX91" fmla="*/ 28004 w 533104"/>
              <a:gd name="connsiteY91" fmla="*/ 141442 h 510953"/>
              <a:gd name="connsiteX92" fmla="*/ 27782 w 533104"/>
              <a:gd name="connsiteY92" fmla="*/ 140778 h 510953"/>
              <a:gd name="connsiteX93" fmla="*/ 28299 w 533104"/>
              <a:gd name="connsiteY93" fmla="*/ 131327 h 510953"/>
              <a:gd name="connsiteX94" fmla="*/ 35314 w 533104"/>
              <a:gd name="connsiteY94" fmla="*/ 124903 h 510953"/>
              <a:gd name="connsiteX95" fmla="*/ 36495 w 533104"/>
              <a:gd name="connsiteY95" fmla="*/ 124386 h 510953"/>
              <a:gd name="connsiteX96" fmla="*/ 249885 w 533104"/>
              <a:gd name="connsiteY96" fmla="*/ 27585 h 510953"/>
              <a:gd name="connsiteX97" fmla="*/ 308733 w 533104"/>
              <a:gd name="connsiteY97" fmla="*/ 45159 h 510953"/>
              <a:gd name="connsiteX98" fmla="*/ 410333 w 533104"/>
              <a:gd name="connsiteY98" fmla="*/ 76835 h 510953"/>
              <a:gd name="connsiteX99" fmla="*/ 417643 w 533104"/>
              <a:gd name="connsiteY99" fmla="*/ 77499 h 510953"/>
              <a:gd name="connsiteX100" fmla="*/ 416461 w 533104"/>
              <a:gd name="connsiteY100" fmla="*/ 176146 h 510953"/>
              <a:gd name="connsiteX101" fmla="*/ 387000 w 533104"/>
              <a:gd name="connsiteY101" fmla="*/ 176146 h 510953"/>
              <a:gd name="connsiteX102" fmla="*/ 353995 w 533104"/>
              <a:gd name="connsiteY102" fmla="*/ 174152 h 510953"/>
              <a:gd name="connsiteX103" fmla="*/ 289461 w 533104"/>
              <a:gd name="connsiteY103" fmla="*/ 138710 h 510953"/>
              <a:gd name="connsiteX104" fmla="*/ 188304 w 533104"/>
              <a:gd name="connsiteY104" fmla="*/ 136864 h 510953"/>
              <a:gd name="connsiteX105" fmla="*/ 267163 w 533104"/>
              <a:gd name="connsiteY105" fmla="*/ 163372 h 510953"/>
              <a:gd name="connsiteX106" fmla="*/ 283702 w 533104"/>
              <a:gd name="connsiteY106" fmla="*/ 164849 h 510953"/>
              <a:gd name="connsiteX107" fmla="*/ 309397 w 533104"/>
              <a:gd name="connsiteY107" fmla="*/ 179838 h 510953"/>
              <a:gd name="connsiteX108" fmla="*/ 339523 w 533104"/>
              <a:gd name="connsiteY108" fmla="*/ 198076 h 510953"/>
              <a:gd name="connsiteX109" fmla="*/ 360124 w 533104"/>
              <a:gd name="connsiteY109" fmla="*/ 256407 h 510953"/>
              <a:gd name="connsiteX110" fmla="*/ 273808 w 533104"/>
              <a:gd name="connsiteY110" fmla="*/ 349220 h 510953"/>
              <a:gd name="connsiteX111" fmla="*/ 249737 w 533104"/>
              <a:gd name="connsiteY111" fmla="*/ 346710 h 510953"/>
              <a:gd name="connsiteX112" fmla="*/ 223599 w 533104"/>
              <a:gd name="connsiteY112" fmla="*/ 331573 h 510953"/>
              <a:gd name="connsiteX113" fmla="*/ 193621 w 533104"/>
              <a:gd name="connsiteY113" fmla="*/ 313409 h 510953"/>
              <a:gd name="connsiteX114" fmla="*/ 174054 w 533104"/>
              <a:gd name="connsiteY114" fmla="*/ 256407 h 510953"/>
              <a:gd name="connsiteX115" fmla="*/ 267163 w 533104"/>
              <a:gd name="connsiteY115" fmla="*/ 163372 h 510953"/>
              <a:gd name="connsiteX116" fmla="*/ 504844 w 533104"/>
              <a:gd name="connsiteY116" fmla="*/ 379937 h 510953"/>
              <a:gd name="connsiteX117" fmla="*/ 497830 w 533104"/>
              <a:gd name="connsiteY117" fmla="*/ 386360 h 510953"/>
              <a:gd name="connsiteX118" fmla="*/ 496648 w 533104"/>
              <a:gd name="connsiteY118" fmla="*/ 386877 h 510953"/>
              <a:gd name="connsiteX119" fmla="*/ 283259 w 533104"/>
              <a:gd name="connsiteY119" fmla="*/ 483678 h 510953"/>
              <a:gd name="connsiteX120" fmla="*/ 224411 w 533104"/>
              <a:gd name="connsiteY120" fmla="*/ 466105 h 510953"/>
              <a:gd name="connsiteX121" fmla="*/ 122811 w 533104"/>
              <a:gd name="connsiteY121" fmla="*/ 434428 h 510953"/>
              <a:gd name="connsiteX122" fmla="*/ 115501 w 533104"/>
              <a:gd name="connsiteY122" fmla="*/ 433764 h 510953"/>
              <a:gd name="connsiteX123" fmla="*/ 116682 w 533104"/>
              <a:gd name="connsiteY123" fmla="*/ 335117 h 510953"/>
              <a:gd name="connsiteX124" fmla="*/ 146143 w 533104"/>
              <a:gd name="connsiteY124" fmla="*/ 335117 h 510953"/>
              <a:gd name="connsiteX125" fmla="*/ 179075 w 533104"/>
              <a:gd name="connsiteY125" fmla="*/ 337111 h 510953"/>
              <a:gd name="connsiteX126" fmla="*/ 267310 w 533104"/>
              <a:gd name="connsiteY126" fmla="*/ 376023 h 510953"/>
              <a:gd name="connsiteX127" fmla="*/ 274620 w 533104"/>
              <a:gd name="connsiteY127" fmla="*/ 375802 h 510953"/>
              <a:gd name="connsiteX128" fmla="*/ 344987 w 533104"/>
              <a:gd name="connsiteY128" fmla="*/ 374620 h 510953"/>
              <a:gd name="connsiteX129" fmla="*/ 357392 w 533104"/>
              <a:gd name="connsiteY129" fmla="*/ 388206 h 510953"/>
              <a:gd name="connsiteX130" fmla="*/ 343805 w 533104"/>
              <a:gd name="connsiteY130" fmla="*/ 401054 h 510953"/>
              <a:gd name="connsiteX131" fmla="*/ 343658 w 533104"/>
              <a:gd name="connsiteY131" fmla="*/ 401054 h 510953"/>
              <a:gd name="connsiteX132" fmla="*/ 245454 w 533104"/>
              <a:gd name="connsiteY132" fmla="*/ 399356 h 510953"/>
              <a:gd name="connsiteX133" fmla="*/ 234453 w 533104"/>
              <a:gd name="connsiteY133" fmla="*/ 404894 h 510953"/>
              <a:gd name="connsiteX134" fmla="*/ 221753 w 533104"/>
              <a:gd name="connsiteY134" fmla="*/ 422541 h 510953"/>
              <a:gd name="connsiteX135" fmla="*/ 224780 w 533104"/>
              <a:gd name="connsiteY135" fmla="*/ 441074 h 510953"/>
              <a:gd name="connsiteX136" fmla="*/ 232533 w 533104"/>
              <a:gd name="connsiteY136" fmla="*/ 443584 h 510953"/>
              <a:gd name="connsiteX137" fmla="*/ 243313 w 533104"/>
              <a:gd name="connsiteY137" fmla="*/ 438046 h 510953"/>
              <a:gd name="connsiteX138" fmla="*/ 251952 w 533104"/>
              <a:gd name="connsiteY138" fmla="*/ 426085 h 510953"/>
              <a:gd name="connsiteX139" fmla="*/ 343141 w 533104"/>
              <a:gd name="connsiteY139" fmla="*/ 427709 h 510953"/>
              <a:gd name="connsiteX140" fmla="*/ 344175 w 533104"/>
              <a:gd name="connsiteY140" fmla="*/ 427709 h 510953"/>
              <a:gd name="connsiteX141" fmla="*/ 380946 w 533104"/>
              <a:gd name="connsiteY141" fmla="*/ 403121 h 510953"/>
              <a:gd name="connsiteX142" fmla="*/ 488379 w 533104"/>
              <a:gd name="connsiteY142" fmla="*/ 361773 h 510953"/>
              <a:gd name="connsiteX143" fmla="*/ 498421 w 533104"/>
              <a:gd name="connsiteY143" fmla="*/ 362289 h 510953"/>
              <a:gd name="connsiteX144" fmla="*/ 505288 w 533104"/>
              <a:gd name="connsiteY144" fmla="*/ 369895 h 510953"/>
              <a:gd name="connsiteX145" fmla="*/ 505509 w 533104"/>
              <a:gd name="connsiteY145" fmla="*/ 370485 h 510953"/>
              <a:gd name="connsiteX146" fmla="*/ 504844 w 533104"/>
              <a:gd name="connsiteY146" fmla="*/ 379937 h 510953"/>
              <a:gd name="connsiteX147" fmla="*/ 214517 w 533104"/>
              <a:gd name="connsiteY147" fmla="*/ 263938 h 510953"/>
              <a:gd name="connsiteX148" fmla="*/ 214664 w 533104"/>
              <a:gd name="connsiteY148" fmla="*/ 245110 h 510953"/>
              <a:gd name="connsiteX149" fmla="*/ 233493 w 533104"/>
              <a:gd name="connsiteY149" fmla="*/ 245257 h 510953"/>
              <a:gd name="connsiteX150" fmla="*/ 250844 w 533104"/>
              <a:gd name="connsiteY150" fmla="*/ 262978 h 510953"/>
              <a:gd name="connsiteX151" fmla="*/ 298691 w 533104"/>
              <a:gd name="connsiteY151" fmla="*/ 203687 h 510953"/>
              <a:gd name="connsiteX152" fmla="*/ 317372 w 533104"/>
              <a:gd name="connsiteY152" fmla="*/ 201694 h 510953"/>
              <a:gd name="connsiteX153" fmla="*/ 319365 w 533104"/>
              <a:gd name="connsiteY153" fmla="*/ 220374 h 510953"/>
              <a:gd name="connsiteX154" fmla="*/ 262142 w 533104"/>
              <a:gd name="connsiteY154" fmla="*/ 291258 h 510953"/>
              <a:gd name="connsiteX155" fmla="*/ 262068 w 533104"/>
              <a:gd name="connsiteY155" fmla="*/ 291332 h 510953"/>
              <a:gd name="connsiteX156" fmla="*/ 261108 w 533104"/>
              <a:gd name="connsiteY156" fmla="*/ 292366 h 510953"/>
              <a:gd name="connsiteX157" fmla="*/ 260886 w 533104"/>
              <a:gd name="connsiteY157" fmla="*/ 292587 h 510953"/>
              <a:gd name="connsiteX158" fmla="*/ 260000 w 533104"/>
              <a:gd name="connsiteY158" fmla="*/ 293326 h 510953"/>
              <a:gd name="connsiteX159" fmla="*/ 259557 w 533104"/>
              <a:gd name="connsiteY159" fmla="*/ 293621 h 510953"/>
              <a:gd name="connsiteX160" fmla="*/ 258819 w 533104"/>
              <a:gd name="connsiteY160" fmla="*/ 294138 h 510953"/>
              <a:gd name="connsiteX161" fmla="*/ 258302 w 533104"/>
              <a:gd name="connsiteY161" fmla="*/ 294433 h 510953"/>
              <a:gd name="connsiteX162" fmla="*/ 257564 w 533104"/>
              <a:gd name="connsiteY162" fmla="*/ 294802 h 510953"/>
              <a:gd name="connsiteX163" fmla="*/ 257047 w 533104"/>
              <a:gd name="connsiteY163" fmla="*/ 295024 h 510953"/>
              <a:gd name="connsiteX164" fmla="*/ 256235 w 533104"/>
              <a:gd name="connsiteY164" fmla="*/ 295319 h 510953"/>
              <a:gd name="connsiteX165" fmla="*/ 255718 w 533104"/>
              <a:gd name="connsiteY165" fmla="*/ 295467 h 510953"/>
              <a:gd name="connsiteX166" fmla="*/ 254832 w 533104"/>
              <a:gd name="connsiteY166" fmla="*/ 295688 h 510953"/>
              <a:gd name="connsiteX167" fmla="*/ 254389 w 533104"/>
              <a:gd name="connsiteY167" fmla="*/ 295762 h 510953"/>
              <a:gd name="connsiteX168" fmla="*/ 253429 w 533104"/>
              <a:gd name="connsiteY168" fmla="*/ 295910 h 510953"/>
              <a:gd name="connsiteX169" fmla="*/ 253060 w 533104"/>
              <a:gd name="connsiteY169" fmla="*/ 295984 h 510953"/>
              <a:gd name="connsiteX170" fmla="*/ 251730 w 533104"/>
              <a:gd name="connsiteY170" fmla="*/ 296058 h 510953"/>
              <a:gd name="connsiteX171" fmla="*/ 251730 w 533104"/>
              <a:gd name="connsiteY171" fmla="*/ 296058 h 510953"/>
              <a:gd name="connsiteX172" fmla="*/ 250549 w 533104"/>
              <a:gd name="connsiteY172" fmla="*/ 295984 h 510953"/>
              <a:gd name="connsiteX173" fmla="*/ 250254 w 533104"/>
              <a:gd name="connsiteY173" fmla="*/ 295910 h 510953"/>
              <a:gd name="connsiteX174" fmla="*/ 249368 w 533104"/>
              <a:gd name="connsiteY174" fmla="*/ 295762 h 510953"/>
              <a:gd name="connsiteX175" fmla="*/ 248999 w 533104"/>
              <a:gd name="connsiteY175" fmla="*/ 295688 h 510953"/>
              <a:gd name="connsiteX176" fmla="*/ 248186 w 533104"/>
              <a:gd name="connsiteY176" fmla="*/ 295467 h 510953"/>
              <a:gd name="connsiteX177" fmla="*/ 247743 w 533104"/>
              <a:gd name="connsiteY177" fmla="*/ 295319 h 510953"/>
              <a:gd name="connsiteX178" fmla="*/ 247005 w 533104"/>
              <a:gd name="connsiteY178" fmla="*/ 295024 h 510953"/>
              <a:gd name="connsiteX179" fmla="*/ 246562 w 533104"/>
              <a:gd name="connsiteY179" fmla="*/ 294876 h 510953"/>
              <a:gd name="connsiteX180" fmla="*/ 245823 w 533104"/>
              <a:gd name="connsiteY180" fmla="*/ 294507 h 510953"/>
              <a:gd name="connsiteX181" fmla="*/ 245381 w 533104"/>
              <a:gd name="connsiteY181" fmla="*/ 294285 h 510953"/>
              <a:gd name="connsiteX182" fmla="*/ 244568 w 533104"/>
              <a:gd name="connsiteY182" fmla="*/ 293842 h 510953"/>
              <a:gd name="connsiteX183" fmla="*/ 244199 w 533104"/>
              <a:gd name="connsiteY183" fmla="*/ 293621 h 510953"/>
              <a:gd name="connsiteX184" fmla="*/ 243387 w 533104"/>
              <a:gd name="connsiteY184" fmla="*/ 293030 h 510953"/>
              <a:gd name="connsiteX185" fmla="*/ 243313 w 533104"/>
              <a:gd name="connsiteY185" fmla="*/ 292956 h 510953"/>
              <a:gd name="connsiteX186" fmla="*/ 242796 w 533104"/>
              <a:gd name="connsiteY186" fmla="*/ 292513 h 510953"/>
              <a:gd name="connsiteX187" fmla="*/ 242279 w 533104"/>
              <a:gd name="connsiteY187" fmla="*/ 291996 h 510953"/>
              <a:gd name="connsiteX188" fmla="*/ 242206 w 533104"/>
              <a:gd name="connsiteY188" fmla="*/ 291923 h 510953"/>
              <a:gd name="connsiteX189" fmla="*/ 214517 w 533104"/>
              <a:gd name="connsiteY189" fmla="*/ 263938 h 510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33104" h="510953">
                <a:moveTo>
                  <a:pt x="530392" y="361477"/>
                </a:moveTo>
                <a:lnTo>
                  <a:pt x="530171" y="360887"/>
                </a:lnTo>
                <a:cubicBezTo>
                  <a:pt x="526553" y="350845"/>
                  <a:pt x="519317" y="342796"/>
                  <a:pt x="509644" y="338292"/>
                </a:cubicBezTo>
                <a:cubicBezTo>
                  <a:pt x="500045" y="333714"/>
                  <a:pt x="489191" y="333198"/>
                  <a:pt x="479223" y="336742"/>
                </a:cubicBezTo>
                <a:cubicBezTo>
                  <a:pt x="442452" y="349959"/>
                  <a:pt x="400734" y="366424"/>
                  <a:pt x="381389" y="374177"/>
                </a:cubicBezTo>
                <a:cubicBezTo>
                  <a:pt x="375925" y="359336"/>
                  <a:pt x="361896" y="348556"/>
                  <a:pt x="345135" y="348039"/>
                </a:cubicBezTo>
                <a:cubicBezTo>
                  <a:pt x="344765" y="348039"/>
                  <a:pt x="344396" y="348039"/>
                  <a:pt x="344027" y="348039"/>
                </a:cubicBezTo>
                <a:cubicBezTo>
                  <a:pt x="370165" y="326109"/>
                  <a:pt x="386853" y="293178"/>
                  <a:pt x="386853" y="256407"/>
                </a:cubicBezTo>
                <a:cubicBezTo>
                  <a:pt x="386853" y="237062"/>
                  <a:pt x="382201" y="218824"/>
                  <a:pt x="374079" y="202653"/>
                </a:cubicBezTo>
                <a:cubicBezTo>
                  <a:pt x="380724" y="202875"/>
                  <a:pt x="385967" y="202949"/>
                  <a:pt x="387148" y="202949"/>
                </a:cubicBezTo>
                <a:lnTo>
                  <a:pt x="416757" y="202949"/>
                </a:lnTo>
                <a:cubicBezTo>
                  <a:pt x="419046" y="221482"/>
                  <a:pt x="431820" y="235289"/>
                  <a:pt x="447842" y="235511"/>
                </a:cubicBezTo>
                <a:lnTo>
                  <a:pt x="489339" y="236028"/>
                </a:lnTo>
                <a:cubicBezTo>
                  <a:pt x="489413" y="236028"/>
                  <a:pt x="489413" y="236028"/>
                  <a:pt x="489486" y="236028"/>
                </a:cubicBezTo>
                <a:cubicBezTo>
                  <a:pt x="496722" y="236028"/>
                  <a:pt x="502703" y="230195"/>
                  <a:pt x="502777" y="222885"/>
                </a:cubicBezTo>
                <a:cubicBezTo>
                  <a:pt x="502851" y="215575"/>
                  <a:pt x="497018" y="209520"/>
                  <a:pt x="489634" y="209446"/>
                </a:cubicBezTo>
                <a:lnTo>
                  <a:pt x="448137" y="208930"/>
                </a:lnTo>
                <a:cubicBezTo>
                  <a:pt x="446808" y="208930"/>
                  <a:pt x="442821" y="204499"/>
                  <a:pt x="442895" y="196599"/>
                </a:cubicBezTo>
                <a:lnTo>
                  <a:pt x="444593" y="55348"/>
                </a:lnTo>
                <a:cubicBezTo>
                  <a:pt x="444667" y="51361"/>
                  <a:pt x="445775" y="47669"/>
                  <a:pt x="447621" y="45159"/>
                </a:cubicBezTo>
                <a:cubicBezTo>
                  <a:pt x="448728" y="43682"/>
                  <a:pt x="449688" y="43165"/>
                  <a:pt x="450131" y="43165"/>
                </a:cubicBezTo>
                <a:lnTo>
                  <a:pt x="450131" y="43165"/>
                </a:lnTo>
                <a:lnTo>
                  <a:pt x="491628" y="43682"/>
                </a:lnTo>
                <a:cubicBezTo>
                  <a:pt x="498937" y="43756"/>
                  <a:pt x="504992" y="37923"/>
                  <a:pt x="505066" y="30539"/>
                </a:cubicBezTo>
                <a:cubicBezTo>
                  <a:pt x="505140" y="23229"/>
                  <a:pt x="499307" y="17174"/>
                  <a:pt x="491923" y="17101"/>
                </a:cubicBezTo>
                <a:lnTo>
                  <a:pt x="450426" y="16584"/>
                </a:lnTo>
                <a:cubicBezTo>
                  <a:pt x="441271" y="16510"/>
                  <a:pt x="432484" y="21088"/>
                  <a:pt x="426355" y="29210"/>
                </a:cubicBezTo>
                <a:cubicBezTo>
                  <a:pt x="421852" y="35264"/>
                  <a:pt x="418972" y="42870"/>
                  <a:pt x="418233" y="51066"/>
                </a:cubicBezTo>
                <a:lnTo>
                  <a:pt x="412548" y="50549"/>
                </a:lnTo>
                <a:cubicBezTo>
                  <a:pt x="412400" y="50549"/>
                  <a:pt x="412253" y="50549"/>
                  <a:pt x="412105" y="50549"/>
                </a:cubicBezTo>
                <a:cubicBezTo>
                  <a:pt x="375999" y="48629"/>
                  <a:pt x="346538" y="34231"/>
                  <a:pt x="320547" y="21531"/>
                </a:cubicBezTo>
                <a:cubicBezTo>
                  <a:pt x="293227" y="8166"/>
                  <a:pt x="269599" y="-3352"/>
                  <a:pt x="244642" y="1816"/>
                </a:cubicBezTo>
                <a:cubicBezTo>
                  <a:pt x="240729" y="2628"/>
                  <a:pt x="231425" y="4548"/>
                  <a:pt x="126503" y="53133"/>
                </a:cubicBezTo>
                <a:cubicBezTo>
                  <a:pt x="78139" y="75506"/>
                  <a:pt x="31253" y="97805"/>
                  <a:pt x="25715" y="100389"/>
                </a:cubicBezTo>
                <a:cubicBezTo>
                  <a:pt x="16264" y="104007"/>
                  <a:pt x="8658" y="111021"/>
                  <a:pt x="4302" y="120251"/>
                </a:cubicBezTo>
                <a:cubicBezTo>
                  <a:pt x="-128" y="129702"/>
                  <a:pt x="-645" y="140261"/>
                  <a:pt x="2825" y="150081"/>
                </a:cubicBezTo>
                <a:lnTo>
                  <a:pt x="3047" y="150746"/>
                </a:lnTo>
                <a:cubicBezTo>
                  <a:pt x="6665" y="160788"/>
                  <a:pt x="13901" y="168836"/>
                  <a:pt x="23573" y="173340"/>
                </a:cubicBezTo>
                <a:cubicBezTo>
                  <a:pt x="28964" y="175924"/>
                  <a:pt x="34797" y="177180"/>
                  <a:pt x="40630" y="177180"/>
                </a:cubicBezTo>
                <a:cubicBezTo>
                  <a:pt x="45134" y="177180"/>
                  <a:pt x="49638" y="176367"/>
                  <a:pt x="53994" y="174817"/>
                </a:cubicBezTo>
                <a:cubicBezTo>
                  <a:pt x="90692" y="161600"/>
                  <a:pt x="132483" y="145134"/>
                  <a:pt x="151829" y="137381"/>
                </a:cubicBezTo>
                <a:cubicBezTo>
                  <a:pt x="153675" y="142402"/>
                  <a:pt x="156480" y="147054"/>
                  <a:pt x="160320" y="151041"/>
                </a:cubicBezTo>
                <a:cubicBezTo>
                  <a:pt x="167630" y="158794"/>
                  <a:pt x="177524" y="163151"/>
                  <a:pt x="188157" y="163446"/>
                </a:cubicBezTo>
                <a:cubicBezTo>
                  <a:pt x="188526" y="163446"/>
                  <a:pt x="188895" y="163446"/>
                  <a:pt x="189264" y="163446"/>
                </a:cubicBezTo>
                <a:cubicBezTo>
                  <a:pt x="190224" y="163372"/>
                  <a:pt x="191258" y="163298"/>
                  <a:pt x="192292" y="163298"/>
                </a:cubicBezTo>
                <a:cubicBezTo>
                  <a:pt x="165046" y="185228"/>
                  <a:pt x="147620" y="218824"/>
                  <a:pt x="147620" y="256481"/>
                </a:cubicBezTo>
                <a:cubicBezTo>
                  <a:pt x="147620" y="275309"/>
                  <a:pt x="151976" y="293104"/>
                  <a:pt x="159729" y="308905"/>
                </a:cubicBezTo>
                <a:cubicBezTo>
                  <a:pt x="152863" y="308610"/>
                  <a:pt x="147325" y="308610"/>
                  <a:pt x="146143" y="308610"/>
                </a:cubicBezTo>
                <a:lnTo>
                  <a:pt x="116461" y="308610"/>
                </a:lnTo>
                <a:cubicBezTo>
                  <a:pt x="115575" y="301448"/>
                  <a:pt x="113064" y="294728"/>
                  <a:pt x="109151" y="289264"/>
                </a:cubicBezTo>
                <a:cubicBezTo>
                  <a:pt x="103244" y="280995"/>
                  <a:pt x="94605" y="276195"/>
                  <a:pt x="85375" y="276048"/>
                </a:cubicBezTo>
                <a:lnTo>
                  <a:pt x="43879" y="275531"/>
                </a:lnTo>
                <a:cubicBezTo>
                  <a:pt x="36569" y="275457"/>
                  <a:pt x="30514" y="281290"/>
                  <a:pt x="30440" y="288674"/>
                </a:cubicBezTo>
                <a:cubicBezTo>
                  <a:pt x="30366" y="295984"/>
                  <a:pt x="36200" y="302038"/>
                  <a:pt x="43583" y="302112"/>
                </a:cubicBezTo>
                <a:lnTo>
                  <a:pt x="85080" y="302629"/>
                </a:lnTo>
                <a:cubicBezTo>
                  <a:pt x="85449" y="302629"/>
                  <a:pt x="86483" y="303220"/>
                  <a:pt x="87517" y="304696"/>
                </a:cubicBezTo>
                <a:cubicBezTo>
                  <a:pt x="89363" y="307281"/>
                  <a:pt x="90322" y="310973"/>
                  <a:pt x="90322" y="314960"/>
                </a:cubicBezTo>
                <a:lnTo>
                  <a:pt x="88624" y="456210"/>
                </a:lnTo>
                <a:cubicBezTo>
                  <a:pt x="88550" y="464111"/>
                  <a:pt x="84489" y="468394"/>
                  <a:pt x="83086" y="468394"/>
                </a:cubicBezTo>
                <a:lnTo>
                  <a:pt x="83086" y="468394"/>
                </a:lnTo>
                <a:lnTo>
                  <a:pt x="41590" y="467877"/>
                </a:lnTo>
                <a:cubicBezTo>
                  <a:pt x="34280" y="467803"/>
                  <a:pt x="28225" y="473636"/>
                  <a:pt x="28151" y="481020"/>
                </a:cubicBezTo>
                <a:cubicBezTo>
                  <a:pt x="28078" y="488330"/>
                  <a:pt x="33911" y="494384"/>
                  <a:pt x="41294" y="494458"/>
                </a:cubicBezTo>
                <a:lnTo>
                  <a:pt x="82791" y="494975"/>
                </a:lnTo>
                <a:cubicBezTo>
                  <a:pt x="82865" y="494975"/>
                  <a:pt x="83012" y="494975"/>
                  <a:pt x="83160" y="494975"/>
                </a:cubicBezTo>
                <a:cubicBezTo>
                  <a:pt x="99847" y="494975"/>
                  <a:pt x="113212" y="480207"/>
                  <a:pt x="115058" y="460493"/>
                </a:cubicBezTo>
                <a:lnTo>
                  <a:pt x="120743" y="461010"/>
                </a:lnTo>
                <a:cubicBezTo>
                  <a:pt x="120891" y="461010"/>
                  <a:pt x="121039" y="461010"/>
                  <a:pt x="121186" y="461010"/>
                </a:cubicBezTo>
                <a:cubicBezTo>
                  <a:pt x="157293" y="462930"/>
                  <a:pt x="186754" y="477328"/>
                  <a:pt x="212744" y="490028"/>
                </a:cubicBezTo>
                <a:cubicBezTo>
                  <a:pt x="235486" y="501177"/>
                  <a:pt x="255718" y="510998"/>
                  <a:pt x="276244" y="510998"/>
                </a:cubicBezTo>
                <a:cubicBezTo>
                  <a:pt x="280379" y="510998"/>
                  <a:pt x="284514" y="510628"/>
                  <a:pt x="288649" y="509742"/>
                </a:cubicBezTo>
                <a:cubicBezTo>
                  <a:pt x="292562" y="508930"/>
                  <a:pt x="301866" y="507010"/>
                  <a:pt x="406789" y="458426"/>
                </a:cubicBezTo>
                <a:cubicBezTo>
                  <a:pt x="455152" y="436053"/>
                  <a:pt x="502039" y="413754"/>
                  <a:pt x="507576" y="411170"/>
                </a:cubicBezTo>
                <a:cubicBezTo>
                  <a:pt x="517028" y="407552"/>
                  <a:pt x="524633" y="400537"/>
                  <a:pt x="528989" y="391308"/>
                </a:cubicBezTo>
                <a:cubicBezTo>
                  <a:pt x="533346" y="381856"/>
                  <a:pt x="533863" y="371298"/>
                  <a:pt x="530392" y="361477"/>
                </a:cubicBezTo>
                <a:moveTo>
                  <a:pt x="188304" y="136864"/>
                </a:moveTo>
                <a:cubicBezTo>
                  <a:pt x="181216" y="136421"/>
                  <a:pt x="175752" y="130441"/>
                  <a:pt x="175900" y="123278"/>
                </a:cubicBezTo>
                <a:cubicBezTo>
                  <a:pt x="175974" y="119734"/>
                  <a:pt x="177450" y="116485"/>
                  <a:pt x="180035" y="114049"/>
                </a:cubicBezTo>
                <a:cubicBezTo>
                  <a:pt x="182619" y="111612"/>
                  <a:pt x="185942" y="110357"/>
                  <a:pt x="189486" y="110431"/>
                </a:cubicBezTo>
                <a:cubicBezTo>
                  <a:pt x="189560" y="110431"/>
                  <a:pt x="189560" y="110431"/>
                  <a:pt x="189633" y="110431"/>
                </a:cubicBezTo>
                <a:lnTo>
                  <a:pt x="287837" y="112129"/>
                </a:lnTo>
                <a:cubicBezTo>
                  <a:pt x="292193" y="112203"/>
                  <a:pt x="296328" y="110135"/>
                  <a:pt x="298839" y="106591"/>
                </a:cubicBezTo>
                <a:lnTo>
                  <a:pt x="311539" y="88944"/>
                </a:lnTo>
                <a:cubicBezTo>
                  <a:pt x="315821" y="82963"/>
                  <a:pt x="314492" y="74694"/>
                  <a:pt x="308511" y="70411"/>
                </a:cubicBezTo>
                <a:cubicBezTo>
                  <a:pt x="302531" y="66128"/>
                  <a:pt x="294261" y="67457"/>
                  <a:pt x="289978" y="73438"/>
                </a:cubicBezTo>
                <a:lnTo>
                  <a:pt x="281339" y="85400"/>
                </a:lnTo>
                <a:lnTo>
                  <a:pt x="190150" y="83776"/>
                </a:lnTo>
                <a:cubicBezTo>
                  <a:pt x="179518" y="83480"/>
                  <a:pt x="169476" y="87394"/>
                  <a:pt x="161797" y="94630"/>
                </a:cubicBezTo>
                <a:cubicBezTo>
                  <a:pt x="157662" y="98543"/>
                  <a:pt x="154487" y="103195"/>
                  <a:pt x="152346" y="108289"/>
                </a:cubicBezTo>
                <a:cubicBezTo>
                  <a:pt x="148063" y="110062"/>
                  <a:pt x="92242" y="132656"/>
                  <a:pt x="44913" y="149564"/>
                </a:cubicBezTo>
                <a:cubicBezTo>
                  <a:pt x="41590" y="150746"/>
                  <a:pt x="38046" y="150598"/>
                  <a:pt x="34871" y="149048"/>
                </a:cubicBezTo>
                <a:cubicBezTo>
                  <a:pt x="31622" y="147497"/>
                  <a:pt x="29185" y="144839"/>
                  <a:pt x="28004" y="141442"/>
                </a:cubicBezTo>
                <a:lnTo>
                  <a:pt x="27782" y="140778"/>
                </a:lnTo>
                <a:cubicBezTo>
                  <a:pt x="26675" y="137677"/>
                  <a:pt x="26822" y="134280"/>
                  <a:pt x="28299" y="131327"/>
                </a:cubicBezTo>
                <a:cubicBezTo>
                  <a:pt x="29702" y="128299"/>
                  <a:pt x="32212" y="126010"/>
                  <a:pt x="35314" y="124903"/>
                </a:cubicBezTo>
                <a:cubicBezTo>
                  <a:pt x="35757" y="124755"/>
                  <a:pt x="36126" y="124607"/>
                  <a:pt x="36495" y="124386"/>
                </a:cubicBezTo>
                <a:cubicBezTo>
                  <a:pt x="111809" y="88575"/>
                  <a:pt x="236372" y="30613"/>
                  <a:pt x="249885" y="27585"/>
                </a:cubicBezTo>
                <a:cubicBezTo>
                  <a:pt x="265981" y="24263"/>
                  <a:pt x="284883" y="33492"/>
                  <a:pt x="308733" y="45159"/>
                </a:cubicBezTo>
                <a:cubicBezTo>
                  <a:pt x="335610" y="58302"/>
                  <a:pt x="368984" y="74620"/>
                  <a:pt x="410333" y="76835"/>
                </a:cubicBezTo>
                <a:lnTo>
                  <a:pt x="417643" y="77499"/>
                </a:lnTo>
                <a:lnTo>
                  <a:pt x="416461" y="176146"/>
                </a:lnTo>
                <a:lnTo>
                  <a:pt x="387000" y="176146"/>
                </a:lnTo>
                <a:cubicBezTo>
                  <a:pt x="380724" y="176146"/>
                  <a:pt x="362929" y="175703"/>
                  <a:pt x="353995" y="174152"/>
                </a:cubicBezTo>
                <a:cubicBezTo>
                  <a:pt x="337086" y="156210"/>
                  <a:pt x="314640" y="143510"/>
                  <a:pt x="289461" y="138710"/>
                </a:cubicBezTo>
                <a:cubicBezTo>
                  <a:pt x="264947" y="132803"/>
                  <a:pt x="198715" y="136274"/>
                  <a:pt x="188304" y="136864"/>
                </a:cubicBezTo>
                <a:moveTo>
                  <a:pt x="267163" y="163372"/>
                </a:moveTo>
                <a:cubicBezTo>
                  <a:pt x="272848" y="163372"/>
                  <a:pt x="278386" y="163889"/>
                  <a:pt x="283702" y="164849"/>
                </a:cubicBezTo>
                <a:cubicBezTo>
                  <a:pt x="294925" y="167802"/>
                  <a:pt x="301644" y="173340"/>
                  <a:pt x="309397" y="179838"/>
                </a:cubicBezTo>
                <a:cubicBezTo>
                  <a:pt x="317298" y="186409"/>
                  <a:pt x="326085" y="193719"/>
                  <a:pt x="339523" y="198076"/>
                </a:cubicBezTo>
                <a:cubicBezTo>
                  <a:pt x="352445" y="214024"/>
                  <a:pt x="360124" y="234330"/>
                  <a:pt x="360124" y="256407"/>
                </a:cubicBezTo>
                <a:cubicBezTo>
                  <a:pt x="360124" y="305435"/>
                  <a:pt x="321950" y="345750"/>
                  <a:pt x="273808" y="349220"/>
                </a:cubicBezTo>
                <a:cubicBezTo>
                  <a:pt x="263692" y="348851"/>
                  <a:pt x="255053" y="348039"/>
                  <a:pt x="249737" y="346710"/>
                </a:cubicBezTo>
                <a:cubicBezTo>
                  <a:pt x="238292" y="343830"/>
                  <a:pt x="231499" y="338145"/>
                  <a:pt x="223599" y="331573"/>
                </a:cubicBezTo>
                <a:cubicBezTo>
                  <a:pt x="215698" y="325002"/>
                  <a:pt x="206985" y="317766"/>
                  <a:pt x="193621" y="313409"/>
                </a:cubicBezTo>
                <a:cubicBezTo>
                  <a:pt x="181364" y="297608"/>
                  <a:pt x="174054" y="277820"/>
                  <a:pt x="174054" y="256407"/>
                </a:cubicBezTo>
                <a:cubicBezTo>
                  <a:pt x="174128" y="205164"/>
                  <a:pt x="215846" y="163372"/>
                  <a:pt x="267163" y="163372"/>
                </a:cubicBezTo>
                <a:moveTo>
                  <a:pt x="504844" y="379937"/>
                </a:moveTo>
                <a:cubicBezTo>
                  <a:pt x="503442" y="382964"/>
                  <a:pt x="500931" y="385253"/>
                  <a:pt x="497830" y="386360"/>
                </a:cubicBezTo>
                <a:cubicBezTo>
                  <a:pt x="497387" y="386508"/>
                  <a:pt x="497018" y="386656"/>
                  <a:pt x="496648" y="386877"/>
                </a:cubicBezTo>
                <a:cubicBezTo>
                  <a:pt x="421335" y="422688"/>
                  <a:pt x="296771" y="480651"/>
                  <a:pt x="283259" y="483678"/>
                </a:cubicBezTo>
                <a:cubicBezTo>
                  <a:pt x="267163" y="487001"/>
                  <a:pt x="248260" y="477771"/>
                  <a:pt x="224411" y="466105"/>
                </a:cubicBezTo>
                <a:cubicBezTo>
                  <a:pt x="197534" y="452962"/>
                  <a:pt x="164160" y="436644"/>
                  <a:pt x="122811" y="434428"/>
                </a:cubicBezTo>
                <a:lnTo>
                  <a:pt x="115501" y="433764"/>
                </a:lnTo>
                <a:lnTo>
                  <a:pt x="116682" y="335117"/>
                </a:lnTo>
                <a:lnTo>
                  <a:pt x="146143" y="335117"/>
                </a:lnTo>
                <a:cubicBezTo>
                  <a:pt x="152346" y="335117"/>
                  <a:pt x="170140" y="335487"/>
                  <a:pt x="179075" y="337111"/>
                </a:cubicBezTo>
                <a:cubicBezTo>
                  <a:pt x="200930" y="361034"/>
                  <a:pt x="232385" y="376023"/>
                  <a:pt x="267310" y="376023"/>
                </a:cubicBezTo>
                <a:cubicBezTo>
                  <a:pt x="269747" y="376023"/>
                  <a:pt x="272183" y="375949"/>
                  <a:pt x="274620" y="375802"/>
                </a:cubicBezTo>
                <a:cubicBezTo>
                  <a:pt x="303195" y="376835"/>
                  <a:pt x="337677" y="375063"/>
                  <a:pt x="344987" y="374620"/>
                </a:cubicBezTo>
                <a:cubicBezTo>
                  <a:pt x="352075" y="375063"/>
                  <a:pt x="357539" y="381044"/>
                  <a:pt x="357392" y="388206"/>
                </a:cubicBezTo>
                <a:cubicBezTo>
                  <a:pt x="357170" y="395516"/>
                  <a:pt x="351115" y="401276"/>
                  <a:pt x="343805" y="401054"/>
                </a:cubicBezTo>
                <a:cubicBezTo>
                  <a:pt x="343732" y="401054"/>
                  <a:pt x="343732" y="401054"/>
                  <a:pt x="343658" y="401054"/>
                </a:cubicBezTo>
                <a:lnTo>
                  <a:pt x="245454" y="399356"/>
                </a:lnTo>
                <a:cubicBezTo>
                  <a:pt x="241098" y="399282"/>
                  <a:pt x="236963" y="401349"/>
                  <a:pt x="234453" y="404894"/>
                </a:cubicBezTo>
                <a:lnTo>
                  <a:pt x="221753" y="422541"/>
                </a:lnTo>
                <a:cubicBezTo>
                  <a:pt x="217470" y="428521"/>
                  <a:pt x="218799" y="436791"/>
                  <a:pt x="224780" y="441074"/>
                </a:cubicBezTo>
                <a:cubicBezTo>
                  <a:pt x="227143" y="442772"/>
                  <a:pt x="229875" y="443584"/>
                  <a:pt x="232533" y="443584"/>
                </a:cubicBezTo>
                <a:cubicBezTo>
                  <a:pt x="236668" y="443584"/>
                  <a:pt x="240729" y="441664"/>
                  <a:pt x="243313" y="438046"/>
                </a:cubicBezTo>
                <a:lnTo>
                  <a:pt x="251952" y="426085"/>
                </a:lnTo>
                <a:lnTo>
                  <a:pt x="343141" y="427709"/>
                </a:lnTo>
                <a:cubicBezTo>
                  <a:pt x="343510" y="427709"/>
                  <a:pt x="343805" y="427709"/>
                  <a:pt x="344175" y="427709"/>
                </a:cubicBezTo>
                <a:cubicBezTo>
                  <a:pt x="360640" y="427709"/>
                  <a:pt x="374891" y="417594"/>
                  <a:pt x="380946" y="403121"/>
                </a:cubicBezTo>
                <a:cubicBezTo>
                  <a:pt x="385081" y="401423"/>
                  <a:pt x="441049" y="378829"/>
                  <a:pt x="488379" y="361773"/>
                </a:cubicBezTo>
                <a:cubicBezTo>
                  <a:pt x="491701" y="360591"/>
                  <a:pt x="495246" y="360739"/>
                  <a:pt x="498421" y="362289"/>
                </a:cubicBezTo>
                <a:cubicBezTo>
                  <a:pt x="501669" y="363840"/>
                  <a:pt x="504106" y="366498"/>
                  <a:pt x="505288" y="369895"/>
                </a:cubicBezTo>
                <a:lnTo>
                  <a:pt x="505509" y="370485"/>
                </a:lnTo>
                <a:cubicBezTo>
                  <a:pt x="506469" y="373587"/>
                  <a:pt x="506247" y="376909"/>
                  <a:pt x="504844" y="379937"/>
                </a:cubicBezTo>
                <a:moveTo>
                  <a:pt x="214517" y="263938"/>
                </a:moveTo>
                <a:cubicBezTo>
                  <a:pt x="209348" y="258696"/>
                  <a:pt x="209422" y="250278"/>
                  <a:pt x="214664" y="245110"/>
                </a:cubicBezTo>
                <a:cubicBezTo>
                  <a:pt x="219907" y="239941"/>
                  <a:pt x="228324" y="240015"/>
                  <a:pt x="233493" y="245257"/>
                </a:cubicBezTo>
                <a:lnTo>
                  <a:pt x="250844" y="262978"/>
                </a:lnTo>
                <a:lnTo>
                  <a:pt x="298691" y="203687"/>
                </a:lnTo>
                <a:cubicBezTo>
                  <a:pt x="303269" y="198002"/>
                  <a:pt x="311686" y="197116"/>
                  <a:pt x="317372" y="201694"/>
                </a:cubicBezTo>
                <a:cubicBezTo>
                  <a:pt x="323057" y="206271"/>
                  <a:pt x="323943" y="214689"/>
                  <a:pt x="319365" y="220374"/>
                </a:cubicBezTo>
                <a:lnTo>
                  <a:pt x="262142" y="291258"/>
                </a:lnTo>
                <a:cubicBezTo>
                  <a:pt x="262142" y="291258"/>
                  <a:pt x="262142" y="291258"/>
                  <a:pt x="262068" y="291332"/>
                </a:cubicBezTo>
                <a:cubicBezTo>
                  <a:pt x="261772" y="291701"/>
                  <a:pt x="261477" y="292070"/>
                  <a:pt x="261108" y="292366"/>
                </a:cubicBezTo>
                <a:cubicBezTo>
                  <a:pt x="261034" y="292439"/>
                  <a:pt x="260960" y="292513"/>
                  <a:pt x="260886" y="292587"/>
                </a:cubicBezTo>
                <a:cubicBezTo>
                  <a:pt x="260591" y="292883"/>
                  <a:pt x="260296" y="293104"/>
                  <a:pt x="260000" y="293326"/>
                </a:cubicBezTo>
                <a:cubicBezTo>
                  <a:pt x="259853" y="293473"/>
                  <a:pt x="259705" y="293547"/>
                  <a:pt x="259557" y="293621"/>
                </a:cubicBezTo>
                <a:cubicBezTo>
                  <a:pt x="259336" y="293769"/>
                  <a:pt x="259114" y="293990"/>
                  <a:pt x="258819" y="294138"/>
                </a:cubicBezTo>
                <a:cubicBezTo>
                  <a:pt x="258671" y="294212"/>
                  <a:pt x="258523" y="294359"/>
                  <a:pt x="258302" y="294433"/>
                </a:cubicBezTo>
                <a:cubicBezTo>
                  <a:pt x="258081" y="294581"/>
                  <a:pt x="257785" y="294728"/>
                  <a:pt x="257564" y="294802"/>
                </a:cubicBezTo>
                <a:cubicBezTo>
                  <a:pt x="257416" y="294876"/>
                  <a:pt x="257268" y="294950"/>
                  <a:pt x="257047" y="295024"/>
                </a:cubicBezTo>
                <a:cubicBezTo>
                  <a:pt x="256751" y="295171"/>
                  <a:pt x="256530" y="295245"/>
                  <a:pt x="256235" y="295319"/>
                </a:cubicBezTo>
                <a:cubicBezTo>
                  <a:pt x="256087" y="295393"/>
                  <a:pt x="255939" y="295467"/>
                  <a:pt x="255718" y="295467"/>
                </a:cubicBezTo>
                <a:cubicBezTo>
                  <a:pt x="255422" y="295541"/>
                  <a:pt x="255127" y="295614"/>
                  <a:pt x="254832" y="295688"/>
                </a:cubicBezTo>
                <a:cubicBezTo>
                  <a:pt x="254684" y="295762"/>
                  <a:pt x="254536" y="295762"/>
                  <a:pt x="254389" y="295762"/>
                </a:cubicBezTo>
                <a:cubicBezTo>
                  <a:pt x="254093" y="295836"/>
                  <a:pt x="253724" y="295910"/>
                  <a:pt x="253429" y="295910"/>
                </a:cubicBezTo>
                <a:cubicBezTo>
                  <a:pt x="253281" y="295910"/>
                  <a:pt x="253133" y="295984"/>
                  <a:pt x="253060" y="295984"/>
                </a:cubicBezTo>
                <a:cubicBezTo>
                  <a:pt x="252616" y="296058"/>
                  <a:pt x="252174" y="296058"/>
                  <a:pt x="251730" y="296058"/>
                </a:cubicBezTo>
                <a:cubicBezTo>
                  <a:pt x="251730" y="296058"/>
                  <a:pt x="251730" y="296058"/>
                  <a:pt x="251730" y="296058"/>
                </a:cubicBezTo>
                <a:cubicBezTo>
                  <a:pt x="251361" y="296058"/>
                  <a:pt x="250918" y="296058"/>
                  <a:pt x="250549" y="295984"/>
                </a:cubicBezTo>
                <a:cubicBezTo>
                  <a:pt x="250475" y="295984"/>
                  <a:pt x="250328" y="295984"/>
                  <a:pt x="250254" y="295910"/>
                </a:cubicBezTo>
                <a:cubicBezTo>
                  <a:pt x="249958" y="295910"/>
                  <a:pt x="249663" y="295836"/>
                  <a:pt x="249368" y="295762"/>
                </a:cubicBezTo>
                <a:cubicBezTo>
                  <a:pt x="249220" y="295762"/>
                  <a:pt x="249146" y="295688"/>
                  <a:pt x="248999" y="295688"/>
                </a:cubicBezTo>
                <a:cubicBezTo>
                  <a:pt x="248703" y="295614"/>
                  <a:pt x="248482" y="295541"/>
                  <a:pt x="248186" y="295467"/>
                </a:cubicBezTo>
                <a:cubicBezTo>
                  <a:pt x="248039" y="295393"/>
                  <a:pt x="247891" y="295393"/>
                  <a:pt x="247743" y="295319"/>
                </a:cubicBezTo>
                <a:cubicBezTo>
                  <a:pt x="247522" y="295245"/>
                  <a:pt x="247226" y="295171"/>
                  <a:pt x="247005" y="295024"/>
                </a:cubicBezTo>
                <a:cubicBezTo>
                  <a:pt x="246857" y="294950"/>
                  <a:pt x="246709" y="294950"/>
                  <a:pt x="246562" y="294876"/>
                </a:cubicBezTo>
                <a:cubicBezTo>
                  <a:pt x="246340" y="294802"/>
                  <a:pt x="246119" y="294655"/>
                  <a:pt x="245823" y="294507"/>
                </a:cubicBezTo>
                <a:cubicBezTo>
                  <a:pt x="245676" y="294433"/>
                  <a:pt x="245528" y="294359"/>
                  <a:pt x="245381" y="294285"/>
                </a:cubicBezTo>
                <a:cubicBezTo>
                  <a:pt x="245085" y="294138"/>
                  <a:pt x="244864" y="293990"/>
                  <a:pt x="244568" y="293842"/>
                </a:cubicBezTo>
                <a:cubicBezTo>
                  <a:pt x="244421" y="293769"/>
                  <a:pt x="244347" y="293695"/>
                  <a:pt x="244199" y="293621"/>
                </a:cubicBezTo>
                <a:cubicBezTo>
                  <a:pt x="243904" y="293399"/>
                  <a:pt x="243608" y="293252"/>
                  <a:pt x="243387" y="293030"/>
                </a:cubicBezTo>
                <a:cubicBezTo>
                  <a:pt x="243387" y="293030"/>
                  <a:pt x="243387" y="293030"/>
                  <a:pt x="243313" y="292956"/>
                </a:cubicBezTo>
                <a:cubicBezTo>
                  <a:pt x="243165" y="292809"/>
                  <a:pt x="243018" y="292661"/>
                  <a:pt x="242796" y="292513"/>
                </a:cubicBezTo>
                <a:cubicBezTo>
                  <a:pt x="242648" y="292366"/>
                  <a:pt x="242427" y="292218"/>
                  <a:pt x="242279" y="291996"/>
                </a:cubicBezTo>
                <a:cubicBezTo>
                  <a:pt x="242279" y="291996"/>
                  <a:pt x="242279" y="291996"/>
                  <a:pt x="242206" y="291923"/>
                </a:cubicBezTo>
                <a:lnTo>
                  <a:pt x="214517" y="26393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20" name="Forma libre 63">
            <a:extLst>
              <a:ext uri="{FF2B5EF4-FFF2-40B4-BE49-F238E27FC236}">
                <a16:creationId xmlns:a16="http://schemas.microsoft.com/office/drawing/2014/main" id="{00F20EF4-98E3-F5CC-3427-EC5E6B907D7C}"/>
              </a:ext>
            </a:extLst>
          </p:cNvPr>
          <p:cNvSpPr/>
          <p:nvPr/>
        </p:nvSpPr>
        <p:spPr>
          <a:xfrm>
            <a:off x="4440572" y="4356110"/>
            <a:ext cx="636344" cy="640948"/>
          </a:xfrm>
          <a:custGeom>
            <a:avLst/>
            <a:gdLst>
              <a:gd name="connsiteX0" fmla="*/ 398942 w 510215"/>
              <a:gd name="connsiteY0" fmla="*/ 133461 h 513906"/>
              <a:gd name="connsiteX1" fmla="*/ 465396 w 510215"/>
              <a:gd name="connsiteY1" fmla="*/ 67007 h 513906"/>
              <a:gd name="connsiteX2" fmla="*/ 398942 w 510215"/>
              <a:gd name="connsiteY2" fmla="*/ 554 h 513906"/>
              <a:gd name="connsiteX3" fmla="*/ 332489 w 510215"/>
              <a:gd name="connsiteY3" fmla="*/ 67007 h 513906"/>
              <a:gd name="connsiteX4" fmla="*/ 398942 w 510215"/>
              <a:gd name="connsiteY4" fmla="*/ 133461 h 513906"/>
              <a:gd name="connsiteX5" fmla="*/ 398942 w 510215"/>
              <a:gd name="connsiteY5" fmla="*/ 27061 h 513906"/>
              <a:gd name="connsiteX6" fmla="*/ 438814 w 510215"/>
              <a:gd name="connsiteY6" fmla="*/ 66933 h 513906"/>
              <a:gd name="connsiteX7" fmla="*/ 398942 w 510215"/>
              <a:gd name="connsiteY7" fmla="*/ 106805 h 513906"/>
              <a:gd name="connsiteX8" fmla="*/ 359070 w 510215"/>
              <a:gd name="connsiteY8" fmla="*/ 66933 h 513906"/>
              <a:gd name="connsiteX9" fmla="*/ 398942 w 510215"/>
              <a:gd name="connsiteY9" fmla="*/ 27061 h 513906"/>
              <a:gd name="connsiteX10" fmla="*/ 510141 w 510215"/>
              <a:gd name="connsiteY10" fmla="*/ 208922 h 513906"/>
              <a:gd name="connsiteX11" fmla="*/ 489393 w 510215"/>
              <a:gd name="connsiteY11" fmla="*/ 168977 h 513906"/>
              <a:gd name="connsiteX12" fmla="*/ 428551 w 510215"/>
              <a:gd name="connsiteY12" fmla="*/ 144019 h 513906"/>
              <a:gd name="connsiteX13" fmla="*/ 426927 w 510215"/>
              <a:gd name="connsiteY13" fmla="*/ 143724 h 513906"/>
              <a:gd name="connsiteX14" fmla="*/ 399016 w 510215"/>
              <a:gd name="connsiteY14" fmla="*/ 141361 h 513906"/>
              <a:gd name="connsiteX15" fmla="*/ 399016 w 510215"/>
              <a:gd name="connsiteY15" fmla="*/ 141361 h 513906"/>
              <a:gd name="connsiteX16" fmla="*/ 399016 w 510215"/>
              <a:gd name="connsiteY16" fmla="*/ 141361 h 513906"/>
              <a:gd name="connsiteX17" fmla="*/ 371179 w 510215"/>
              <a:gd name="connsiteY17" fmla="*/ 143724 h 513906"/>
              <a:gd name="connsiteX18" fmla="*/ 369481 w 510215"/>
              <a:gd name="connsiteY18" fmla="*/ 144019 h 513906"/>
              <a:gd name="connsiteX19" fmla="*/ 309230 w 510215"/>
              <a:gd name="connsiteY19" fmla="*/ 168607 h 513906"/>
              <a:gd name="connsiteX20" fmla="*/ 287965 w 510215"/>
              <a:gd name="connsiteY20" fmla="*/ 209218 h 513906"/>
              <a:gd name="connsiteX21" fmla="*/ 287965 w 510215"/>
              <a:gd name="connsiteY21" fmla="*/ 335332 h 513906"/>
              <a:gd name="connsiteX22" fmla="*/ 301256 w 510215"/>
              <a:gd name="connsiteY22" fmla="*/ 348622 h 513906"/>
              <a:gd name="connsiteX23" fmla="*/ 322890 w 510215"/>
              <a:gd name="connsiteY23" fmla="*/ 348622 h 513906"/>
              <a:gd name="connsiteX24" fmla="*/ 322890 w 510215"/>
              <a:gd name="connsiteY24" fmla="*/ 500653 h 513906"/>
              <a:gd name="connsiteX25" fmla="*/ 336181 w 510215"/>
              <a:gd name="connsiteY25" fmla="*/ 513944 h 513906"/>
              <a:gd name="connsiteX26" fmla="*/ 460744 w 510215"/>
              <a:gd name="connsiteY26" fmla="*/ 513944 h 513906"/>
              <a:gd name="connsiteX27" fmla="*/ 474035 w 510215"/>
              <a:gd name="connsiteY27" fmla="*/ 500653 h 513906"/>
              <a:gd name="connsiteX28" fmla="*/ 474035 w 510215"/>
              <a:gd name="connsiteY28" fmla="*/ 348622 h 513906"/>
              <a:gd name="connsiteX29" fmla="*/ 496998 w 510215"/>
              <a:gd name="connsiteY29" fmla="*/ 348622 h 513906"/>
              <a:gd name="connsiteX30" fmla="*/ 510289 w 510215"/>
              <a:gd name="connsiteY30" fmla="*/ 335332 h 513906"/>
              <a:gd name="connsiteX31" fmla="*/ 510141 w 510215"/>
              <a:gd name="connsiteY31" fmla="*/ 208922 h 513906"/>
              <a:gd name="connsiteX32" fmla="*/ 460744 w 510215"/>
              <a:gd name="connsiteY32" fmla="*/ 321967 h 513906"/>
              <a:gd name="connsiteX33" fmla="*/ 447454 w 510215"/>
              <a:gd name="connsiteY33" fmla="*/ 335258 h 513906"/>
              <a:gd name="connsiteX34" fmla="*/ 447454 w 510215"/>
              <a:gd name="connsiteY34" fmla="*/ 487288 h 513906"/>
              <a:gd name="connsiteX35" fmla="*/ 349471 w 510215"/>
              <a:gd name="connsiteY35" fmla="*/ 487288 h 513906"/>
              <a:gd name="connsiteX36" fmla="*/ 349471 w 510215"/>
              <a:gd name="connsiteY36" fmla="*/ 335258 h 513906"/>
              <a:gd name="connsiteX37" fmla="*/ 336181 w 510215"/>
              <a:gd name="connsiteY37" fmla="*/ 321967 h 513906"/>
              <a:gd name="connsiteX38" fmla="*/ 314547 w 510215"/>
              <a:gd name="connsiteY38" fmla="*/ 321967 h 513906"/>
              <a:gd name="connsiteX39" fmla="*/ 314547 w 510215"/>
              <a:gd name="connsiteY39" fmla="*/ 209144 h 513906"/>
              <a:gd name="connsiteX40" fmla="*/ 324367 w 510215"/>
              <a:gd name="connsiteY40" fmla="*/ 190315 h 513906"/>
              <a:gd name="connsiteX41" fmla="*/ 371179 w 510215"/>
              <a:gd name="connsiteY41" fmla="*/ 170675 h 513906"/>
              <a:gd name="connsiteX42" fmla="*/ 385652 w 510215"/>
              <a:gd name="connsiteY42" fmla="*/ 176434 h 513906"/>
              <a:gd name="connsiteX43" fmla="*/ 385726 w 510215"/>
              <a:gd name="connsiteY43" fmla="*/ 279585 h 513906"/>
              <a:gd name="connsiteX44" fmla="*/ 399016 w 510215"/>
              <a:gd name="connsiteY44" fmla="*/ 292875 h 513906"/>
              <a:gd name="connsiteX45" fmla="*/ 399016 w 510215"/>
              <a:gd name="connsiteY45" fmla="*/ 292875 h 513906"/>
              <a:gd name="connsiteX46" fmla="*/ 412307 w 510215"/>
              <a:gd name="connsiteY46" fmla="*/ 279585 h 513906"/>
              <a:gd name="connsiteX47" fmla="*/ 412233 w 510215"/>
              <a:gd name="connsiteY47" fmla="*/ 176434 h 513906"/>
              <a:gd name="connsiteX48" fmla="*/ 426705 w 510215"/>
              <a:gd name="connsiteY48" fmla="*/ 170675 h 513906"/>
              <a:gd name="connsiteX49" fmla="*/ 474035 w 510215"/>
              <a:gd name="connsiteY49" fmla="*/ 190685 h 513906"/>
              <a:gd name="connsiteX50" fmla="*/ 483560 w 510215"/>
              <a:gd name="connsiteY50" fmla="*/ 209070 h 513906"/>
              <a:gd name="connsiteX51" fmla="*/ 483708 w 510215"/>
              <a:gd name="connsiteY51" fmla="*/ 321967 h 513906"/>
              <a:gd name="connsiteX52" fmla="*/ 460744 w 510215"/>
              <a:gd name="connsiteY52" fmla="*/ 321967 h 513906"/>
              <a:gd name="connsiteX53" fmla="*/ 121240 w 510215"/>
              <a:gd name="connsiteY53" fmla="*/ 346333 h 513906"/>
              <a:gd name="connsiteX54" fmla="*/ 121240 w 510215"/>
              <a:gd name="connsiteY54" fmla="*/ 365162 h 513906"/>
              <a:gd name="connsiteX55" fmla="*/ 111863 w 510215"/>
              <a:gd name="connsiteY55" fmla="*/ 369075 h 513906"/>
              <a:gd name="connsiteX56" fmla="*/ 102486 w 510215"/>
              <a:gd name="connsiteY56" fmla="*/ 365162 h 513906"/>
              <a:gd name="connsiteX57" fmla="*/ 76126 w 510215"/>
              <a:gd name="connsiteY57" fmla="*/ 338802 h 513906"/>
              <a:gd name="connsiteX58" fmla="*/ 76126 w 510215"/>
              <a:gd name="connsiteY58" fmla="*/ 500653 h 513906"/>
              <a:gd name="connsiteX59" fmla="*/ 62836 w 510215"/>
              <a:gd name="connsiteY59" fmla="*/ 513944 h 513906"/>
              <a:gd name="connsiteX60" fmla="*/ 49545 w 510215"/>
              <a:gd name="connsiteY60" fmla="*/ 500653 h 513906"/>
              <a:gd name="connsiteX61" fmla="*/ 49545 w 510215"/>
              <a:gd name="connsiteY61" fmla="*/ 338802 h 513906"/>
              <a:gd name="connsiteX62" fmla="*/ 23185 w 510215"/>
              <a:gd name="connsiteY62" fmla="*/ 365162 h 513906"/>
              <a:gd name="connsiteX63" fmla="*/ 13807 w 510215"/>
              <a:gd name="connsiteY63" fmla="*/ 369075 h 513906"/>
              <a:gd name="connsiteX64" fmla="*/ 4430 w 510215"/>
              <a:gd name="connsiteY64" fmla="*/ 365162 h 513906"/>
              <a:gd name="connsiteX65" fmla="*/ 4430 w 510215"/>
              <a:gd name="connsiteY65" fmla="*/ 346333 h 513906"/>
              <a:gd name="connsiteX66" fmla="*/ 53532 w 510215"/>
              <a:gd name="connsiteY66" fmla="*/ 297232 h 513906"/>
              <a:gd name="connsiteX67" fmla="*/ 54492 w 510215"/>
              <a:gd name="connsiteY67" fmla="*/ 296346 h 513906"/>
              <a:gd name="connsiteX68" fmla="*/ 54935 w 510215"/>
              <a:gd name="connsiteY68" fmla="*/ 295977 h 513906"/>
              <a:gd name="connsiteX69" fmla="*/ 55525 w 510215"/>
              <a:gd name="connsiteY69" fmla="*/ 295533 h 513906"/>
              <a:gd name="connsiteX70" fmla="*/ 56116 w 510215"/>
              <a:gd name="connsiteY70" fmla="*/ 295164 h 513906"/>
              <a:gd name="connsiteX71" fmla="*/ 56633 w 510215"/>
              <a:gd name="connsiteY71" fmla="*/ 294869 h 513906"/>
              <a:gd name="connsiteX72" fmla="*/ 57224 w 510215"/>
              <a:gd name="connsiteY72" fmla="*/ 294573 h 513906"/>
              <a:gd name="connsiteX73" fmla="*/ 57814 w 510215"/>
              <a:gd name="connsiteY73" fmla="*/ 294278 h 513906"/>
              <a:gd name="connsiteX74" fmla="*/ 58405 w 510215"/>
              <a:gd name="connsiteY74" fmla="*/ 294057 h 513906"/>
              <a:gd name="connsiteX75" fmla="*/ 59070 w 510215"/>
              <a:gd name="connsiteY75" fmla="*/ 293835 h 513906"/>
              <a:gd name="connsiteX76" fmla="*/ 59660 w 510215"/>
              <a:gd name="connsiteY76" fmla="*/ 293688 h 513906"/>
              <a:gd name="connsiteX77" fmla="*/ 60325 w 510215"/>
              <a:gd name="connsiteY77" fmla="*/ 293540 h 513906"/>
              <a:gd name="connsiteX78" fmla="*/ 60990 w 510215"/>
              <a:gd name="connsiteY78" fmla="*/ 293466 h 513906"/>
              <a:gd name="connsiteX79" fmla="*/ 61580 w 510215"/>
              <a:gd name="connsiteY79" fmla="*/ 293392 h 513906"/>
              <a:gd name="connsiteX80" fmla="*/ 62836 w 510215"/>
              <a:gd name="connsiteY80" fmla="*/ 293318 h 513906"/>
              <a:gd name="connsiteX81" fmla="*/ 62836 w 510215"/>
              <a:gd name="connsiteY81" fmla="*/ 293318 h 513906"/>
              <a:gd name="connsiteX82" fmla="*/ 62836 w 510215"/>
              <a:gd name="connsiteY82" fmla="*/ 293318 h 513906"/>
              <a:gd name="connsiteX83" fmla="*/ 64091 w 510215"/>
              <a:gd name="connsiteY83" fmla="*/ 293392 h 513906"/>
              <a:gd name="connsiteX84" fmla="*/ 64681 w 510215"/>
              <a:gd name="connsiteY84" fmla="*/ 293466 h 513906"/>
              <a:gd name="connsiteX85" fmla="*/ 65346 w 510215"/>
              <a:gd name="connsiteY85" fmla="*/ 293540 h 513906"/>
              <a:gd name="connsiteX86" fmla="*/ 66010 w 510215"/>
              <a:gd name="connsiteY86" fmla="*/ 293688 h 513906"/>
              <a:gd name="connsiteX87" fmla="*/ 66601 w 510215"/>
              <a:gd name="connsiteY87" fmla="*/ 293835 h 513906"/>
              <a:gd name="connsiteX88" fmla="*/ 67266 w 510215"/>
              <a:gd name="connsiteY88" fmla="*/ 294057 h 513906"/>
              <a:gd name="connsiteX89" fmla="*/ 67856 w 510215"/>
              <a:gd name="connsiteY89" fmla="*/ 294278 h 513906"/>
              <a:gd name="connsiteX90" fmla="*/ 68447 w 510215"/>
              <a:gd name="connsiteY90" fmla="*/ 294573 h 513906"/>
              <a:gd name="connsiteX91" fmla="*/ 69038 w 510215"/>
              <a:gd name="connsiteY91" fmla="*/ 294869 h 513906"/>
              <a:gd name="connsiteX92" fmla="*/ 69554 w 510215"/>
              <a:gd name="connsiteY92" fmla="*/ 295164 h 513906"/>
              <a:gd name="connsiteX93" fmla="*/ 70145 w 510215"/>
              <a:gd name="connsiteY93" fmla="*/ 295533 h 513906"/>
              <a:gd name="connsiteX94" fmla="*/ 70736 w 510215"/>
              <a:gd name="connsiteY94" fmla="*/ 295977 h 513906"/>
              <a:gd name="connsiteX95" fmla="*/ 71179 w 510215"/>
              <a:gd name="connsiteY95" fmla="*/ 296346 h 513906"/>
              <a:gd name="connsiteX96" fmla="*/ 72139 w 510215"/>
              <a:gd name="connsiteY96" fmla="*/ 297232 h 513906"/>
              <a:gd name="connsiteX97" fmla="*/ 121240 w 510215"/>
              <a:gd name="connsiteY97" fmla="*/ 346333 h 513906"/>
              <a:gd name="connsiteX98" fmla="*/ 248979 w 510215"/>
              <a:gd name="connsiteY98" fmla="*/ 210842 h 513906"/>
              <a:gd name="connsiteX99" fmla="*/ 248979 w 510215"/>
              <a:gd name="connsiteY99" fmla="*/ 229671 h 513906"/>
              <a:gd name="connsiteX100" fmla="*/ 239602 w 510215"/>
              <a:gd name="connsiteY100" fmla="*/ 233584 h 513906"/>
              <a:gd name="connsiteX101" fmla="*/ 230224 w 510215"/>
              <a:gd name="connsiteY101" fmla="*/ 229671 h 513906"/>
              <a:gd name="connsiteX102" fmla="*/ 203865 w 510215"/>
              <a:gd name="connsiteY102" fmla="*/ 203311 h 513906"/>
              <a:gd name="connsiteX103" fmla="*/ 203865 w 510215"/>
              <a:gd name="connsiteY103" fmla="*/ 500653 h 513906"/>
              <a:gd name="connsiteX104" fmla="*/ 190574 w 510215"/>
              <a:gd name="connsiteY104" fmla="*/ 513944 h 513906"/>
              <a:gd name="connsiteX105" fmla="*/ 177283 w 510215"/>
              <a:gd name="connsiteY105" fmla="*/ 500653 h 513906"/>
              <a:gd name="connsiteX106" fmla="*/ 177283 w 510215"/>
              <a:gd name="connsiteY106" fmla="*/ 203311 h 513906"/>
              <a:gd name="connsiteX107" fmla="*/ 150923 w 510215"/>
              <a:gd name="connsiteY107" fmla="*/ 229671 h 513906"/>
              <a:gd name="connsiteX108" fmla="*/ 141546 w 510215"/>
              <a:gd name="connsiteY108" fmla="*/ 233584 h 513906"/>
              <a:gd name="connsiteX109" fmla="*/ 132169 w 510215"/>
              <a:gd name="connsiteY109" fmla="*/ 229671 h 513906"/>
              <a:gd name="connsiteX110" fmla="*/ 132169 w 510215"/>
              <a:gd name="connsiteY110" fmla="*/ 210842 h 513906"/>
              <a:gd name="connsiteX111" fmla="*/ 181270 w 510215"/>
              <a:gd name="connsiteY111" fmla="*/ 161740 h 513906"/>
              <a:gd name="connsiteX112" fmla="*/ 181270 w 510215"/>
              <a:gd name="connsiteY112" fmla="*/ 161740 h 513906"/>
              <a:gd name="connsiteX113" fmla="*/ 182230 w 510215"/>
              <a:gd name="connsiteY113" fmla="*/ 160854 h 513906"/>
              <a:gd name="connsiteX114" fmla="*/ 182673 w 510215"/>
              <a:gd name="connsiteY114" fmla="*/ 160485 h 513906"/>
              <a:gd name="connsiteX115" fmla="*/ 183264 w 510215"/>
              <a:gd name="connsiteY115" fmla="*/ 160042 h 513906"/>
              <a:gd name="connsiteX116" fmla="*/ 183855 w 510215"/>
              <a:gd name="connsiteY116" fmla="*/ 159673 h 513906"/>
              <a:gd name="connsiteX117" fmla="*/ 184371 w 510215"/>
              <a:gd name="connsiteY117" fmla="*/ 159378 h 513906"/>
              <a:gd name="connsiteX118" fmla="*/ 184962 w 510215"/>
              <a:gd name="connsiteY118" fmla="*/ 159082 h 513906"/>
              <a:gd name="connsiteX119" fmla="*/ 185553 w 510215"/>
              <a:gd name="connsiteY119" fmla="*/ 158787 h 513906"/>
              <a:gd name="connsiteX120" fmla="*/ 186144 w 510215"/>
              <a:gd name="connsiteY120" fmla="*/ 158565 h 513906"/>
              <a:gd name="connsiteX121" fmla="*/ 186808 w 510215"/>
              <a:gd name="connsiteY121" fmla="*/ 158344 h 513906"/>
              <a:gd name="connsiteX122" fmla="*/ 187399 w 510215"/>
              <a:gd name="connsiteY122" fmla="*/ 158196 h 513906"/>
              <a:gd name="connsiteX123" fmla="*/ 188063 w 510215"/>
              <a:gd name="connsiteY123" fmla="*/ 158048 h 513906"/>
              <a:gd name="connsiteX124" fmla="*/ 188728 w 510215"/>
              <a:gd name="connsiteY124" fmla="*/ 157975 h 513906"/>
              <a:gd name="connsiteX125" fmla="*/ 189319 w 510215"/>
              <a:gd name="connsiteY125" fmla="*/ 157901 h 513906"/>
              <a:gd name="connsiteX126" fmla="*/ 190500 w 510215"/>
              <a:gd name="connsiteY126" fmla="*/ 157827 h 513906"/>
              <a:gd name="connsiteX127" fmla="*/ 190574 w 510215"/>
              <a:gd name="connsiteY127" fmla="*/ 157827 h 513906"/>
              <a:gd name="connsiteX128" fmla="*/ 190647 w 510215"/>
              <a:gd name="connsiteY128" fmla="*/ 157827 h 513906"/>
              <a:gd name="connsiteX129" fmla="*/ 191829 w 510215"/>
              <a:gd name="connsiteY129" fmla="*/ 157901 h 513906"/>
              <a:gd name="connsiteX130" fmla="*/ 192420 w 510215"/>
              <a:gd name="connsiteY130" fmla="*/ 157975 h 513906"/>
              <a:gd name="connsiteX131" fmla="*/ 193084 w 510215"/>
              <a:gd name="connsiteY131" fmla="*/ 158048 h 513906"/>
              <a:gd name="connsiteX132" fmla="*/ 193749 w 510215"/>
              <a:gd name="connsiteY132" fmla="*/ 158196 h 513906"/>
              <a:gd name="connsiteX133" fmla="*/ 194339 w 510215"/>
              <a:gd name="connsiteY133" fmla="*/ 158344 h 513906"/>
              <a:gd name="connsiteX134" fmla="*/ 195004 w 510215"/>
              <a:gd name="connsiteY134" fmla="*/ 158565 h 513906"/>
              <a:gd name="connsiteX135" fmla="*/ 195595 w 510215"/>
              <a:gd name="connsiteY135" fmla="*/ 158787 h 513906"/>
              <a:gd name="connsiteX136" fmla="*/ 196185 w 510215"/>
              <a:gd name="connsiteY136" fmla="*/ 159082 h 513906"/>
              <a:gd name="connsiteX137" fmla="*/ 196776 w 510215"/>
              <a:gd name="connsiteY137" fmla="*/ 159378 h 513906"/>
              <a:gd name="connsiteX138" fmla="*/ 197293 w 510215"/>
              <a:gd name="connsiteY138" fmla="*/ 159673 h 513906"/>
              <a:gd name="connsiteX139" fmla="*/ 197884 w 510215"/>
              <a:gd name="connsiteY139" fmla="*/ 160042 h 513906"/>
              <a:gd name="connsiteX140" fmla="*/ 198474 w 510215"/>
              <a:gd name="connsiteY140" fmla="*/ 160485 h 513906"/>
              <a:gd name="connsiteX141" fmla="*/ 198917 w 510215"/>
              <a:gd name="connsiteY141" fmla="*/ 160854 h 513906"/>
              <a:gd name="connsiteX142" fmla="*/ 199877 w 510215"/>
              <a:gd name="connsiteY142" fmla="*/ 161740 h 513906"/>
              <a:gd name="connsiteX143" fmla="*/ 199877 w 510215"/>
              <a:gd name="connsiteY143" fmla="*/ 161740 h 513906"/>
              <a:gd name="connsiteX144" fmla="*/ 199877 w 510215"/>
              <a:gd name="connsiteY144" fmla="*/ 161740 h 513906"/>
              <a:gd name="connsiteX145" fmla="*/ 248979 w 510215"/>
              <a:gd name="connsiteY145" fmla="*/ 210842 h 513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510215" h="513906">
                <a:moveTo>
                  <a:pt x="398942" y="133461"/>
                </a:moveTo>
                <a:cubicBezTo>
                  <a:pt x="435640" y="133461"/>
                  <a:pt x="465396" y="103631"/>
                  <a:pt x="465396" y="67007"/>
                </a:cubicBezTo>
                <a:cubicBezTo>
                  <a:pt x="465396" y="30310"/>
                  <a:pt x="435566" y="554"/>
                  <a:pt x="398942" y="554"/>
                </a:cubicBezTo>
                <a:cubicBezTo>
                  <a:pt x="362245" y="554"/>
                  <a:pt x="332489" y="30384"/>
                  <a:pt x="332489" y="67007"/>
                </a:cubicBezTo>
                <a:cubicBezTo>
                  <a:pt x="332489" y="103631"/>
                  <a:pt x="362319" y="133461"/>
                  <a:pt x="398942" y="133461"/>
                </a:cubicBezTo>
                <a:moveTo>
                  <a:pt x="398942" y="27061"/>
                </a:moveTo>
                <a:cubicBezTo>
                  <a:pt x="420946" y="27061"/>
                  <a:pt x="438814" y="44930"/>
                  <a:pt x="438814" y="66933"/>
                </a:cubicBezTo>
                <a:cubicBezTo>
                  <a:pt x="438814" y="88937"/>
                  <a:pt x="420946" y="106805"/>
                  <a:pt x="398942" y="106805"/>
                </a:cubicBezTo>
                <a:cubicBezTo>
                  <a:pt x="376939" y="106805"/>
                  <a:pt x="359070" y="88937"/>
                  <a:pt x="359070" y="66933"/>
                </a:cubicBezTo>
                <a:cubicBezTo>
                  <a:pt x="359070" y="44930"/>
                  <a:pt x="376939" y="27061"/>
                  <a:pt x="398942" y="27061"/>
                </a:cubicBezTo>
                <a:moveTo>
                  <a:pt x="510141" y="208922"/>
                </a:moveTo>
                <a:cubicBezTo>
                  <a:pt x="510067" y="192974"/>
                  <a:pt x="502240" y="178058"/>
                  <a:pt x="489393" y="168977"/>
                </a:cubicBezTo>
                <a:cubicBezTo>
                  <a:pt x="471746" y="156572"/>
                  <a:pt x="450850" y="148006"/>
                  <a:pt x="428551" y="144019"/>
                </a:cubicBezTo>
                <a:cubicBezTo>
                  <a:pt x="428034" y="143872"/>
                  <a:pt x="427444" y="143798"/>
                  <a:pt x="426927" y="143724"/>
                </a:cubicBezTo>
                <a:cubicBezTo>
                  <a:pt x="417771" y="142173"/>
                  <a:pt x="408467" y="141361"/>
                  <a:pt x="399016" y="141361"/>
                </a:cubicBezTo>
                <a:lnTo>
                  <a:pt x="399016" y="141361"/>
                </a:lnTo>
                <a:lnTo>
                  <a:pt x="399016" y="141361"/>
                </a:lnTo>
                <a:cubicBezTo>
                  <a:pt x="389639" y="141361"/>
                  <a:pt x="380262" y="142173"/>
                  <a:pt x="371179" y="143724"/>
                </a:cubicBezTo>
                <a:cubicBezTo>
                  <a:pt x="370589" y="143798"/>
                  <a:pt x="370072" y="143872"/>
                  <a:pt x="369481" y="144019"/>
                </a:cubicBezTo>
                <a:cubicBezTo>
                  <a:pt x="347478" y="148006"/>
                  <a:pt x="326730" y="156424"/>
                  <a:pt x="309230" y="168607"/>
                </a:cubicBezTo>
                <a:cubicBezTo>
                  <a:pt x="295939" y="177911"/>
                  <a:pt x="287965" y="193047"/>
                  <a:pt x="287965" y="209218"/>
                </a:cubicBezTo>
                <a:lnTo>
                  <a:pt x="287965" y="335332"/>
                </a:lnTo>
                <a:cubicBezTo>
                  <a:pt x="287965" y="342641"/>
                  <a:pt x="293946" y="348622"/>
                  <a:pt x="301256" y="348622"/>
                </a:cubicBezTo>
                <a:lnTo>
                  <a:pt x="322890" y="348622"/>
                </a:lnTo>
                <a:lnTo>
                  <a:pt x="322890" y="500653"/>
                </a:lnTo>
                <a:cubicBezTo>
                  <a:pt x="322890" y="507963"/>
                  <a:pt x="328871" y="513944"/>
                  <a:pt x="336181" y="513944"/>
                </a:cubicBezTo>
                <a:lnTo>
                  <a:pt x="460744" y="513944"/>
                </a:lnTo>
                <a:cubicBezTo>
                  <a:pt x="468054" y="513944"/>
                  <a:pt x="474035" y="507963"/>
                  <a:pt x="474035" y="500653"/>
                </a:cubicBezTo>
                <a:lnTo>
                  <a:pt x="474035" y="348622"/>
                </a:lnTo>
                <a:lnTo>
                  <a:pt x="496998" y="348622"/>
                </a:lnTo>
                <a:cubicBezTo>
                  <a:pt x="504308" y="348622"/>
                  <a:pt x="510289" y="342641"/>
                  <a:pt x="510289" y="335332"/>
                </a:cubicBezTo>
                <a:cubicBezTo>
                  <a:pt x="510289" y="321450"/>
                  <a:pt x="510215" y="221992"/>
                  <a:pt x="510141" y="208922"/>
                </a:cubicBezTo>
                <a:moveTo>
                  <a:pt x="460744" y="321967"/>
                </a:moveTo>
                <a:cubicBezTo>
                  <a:pt x="453434" y="321967"/>
                  <a:pt x="447454" y="327948"/>
                  <a:pt x="447454" y="335258"/>
                </a:cubicBezTo>
                <a:lnTo>
                  <a:pt x="447454" y="487288"/>
                </a:lnTo>
                <a:lnTo>
                  <a:pt x="349471" y="487288"/>
                </a:lnTo>
                <a:lnTo>
                  <a:pt x="349471" y="335258"/>
                </a:lnTo>
                <a:cubicBezTo>
                  <a:pt x="349471" y="327948"/>
                  <a:pt x="343490" y="321967"/>
                  <a:pt x="336181" y="321967"/>
                </a:cubicBezTo>
                <a:lnTo>
                  <a:pt x="314547" y="321967"/>
                </a:lnTo>
                <a:lnTo>
                  <a:pt x="314547" y="209144"/>
                </a:lnTo>
                <a:cubicBezTo>
                  <a:pt x="314547" y="201686"/>
                  <a:pt x="318238" y="194672"/>
                  <a:pt x="324367" y="190315"/>
                </a:cubicBezTo>
                <a:cubicBezTo>
                  <a:pt x="337953" y="180790"/>
                  <a:pt x="354049" y="174145"/>
                  <a:pt x="371179" y="170675"/>
                </a:cubicBezTo>
                <a:lnTo>
                  <a:pt x="385652" y="176434"/>
                </a:lnTo>
                <a:lnTo>
                  <a:pt x="385726" y="279585"/>
                </a:lnTo>
                <a:cubicBezTo>
                  <a:pt x="385726" y="286894"/>
                  <a:pt x="391706" y="292875"/>
                  <a:pt x="399016" y="292875"/>
                </a:cubicBezTo>
                <a:lnTo>
                  <a:pt x="399016" y="292875"/>
                </a:lnTo>
                <a:cubicBezTo>
                  <a:pt x="406326" y="292875"/>
                  <a:pt x="412307" y="286894"/>
                  <a:pt x="412307" y="279585"/>
                </a:cubicBezTo>
                <a:lnTo>
                  <a:pt x="412233" y="176434"/>
                </a:lnTo>
                <a:lnTo>
                  <a:pt x="426705" y="170675"/>
                </a:lnTo>
                <a:cubicBezTo>
                  <a:pt x="444057" y="174219"/>
                  <a:pt x="460301" y="181012"/>
                  <a:pt x="474035" y="190685"/>
                </a:cubicBezTo>
                <a:cubicBezTo>
                  <a:pt x="479942" y="194820"/>
                  <a:pt x="483486" y="201760"/>
                  <a:pt x="483560" y="209070"/>
                </a:cubicBezTo>
                <a:cubicBezTo>
                  <a:pt x="483634" y="219924"/>
                  <a:pt x="483708" y="290660"/>
                  <a:pt x="483708" y="321967"/>
                </a:cubicBezTo>
                <a:lnTo>
                  <a:pt x="460744" y="321967"/>
                </a:lnTo>
                <a:close/>
                <a:moveTo>
                  <a:pt x="121240" y="346333"/>
                </a:moveTo>
                <a:cubicBezTo>
                  <a:pt x="126409" y="351502"/>
                  <a:pt x="126409" y="359919"/>
                  <a:pt x="121240" y="365162"/>
                </a:cubicBezTo>
                <a:cubicBezTo>
                  <a:pt x="118656" y="367746"/>
                  <a:pt x="115260" y="369075"/>
                  <a:pt x="111863" y="369075"/>
                </a:cubicBezTo>
                <a:cubicBezTo>
                  <a:pt x="108467" y="369075"/>
                  <a:pt x="105070" y="367746"/>
                  <a:pt x="102486" y="365162"/>
                </a:cubicBezTo>
                <a:lnTo>
                  <a:pt x="76126" y="338802"/>
                </a:lnTo>
                <a:lnTo>
                  <a:pt x="76126" y="500653"/>
                </a:lnTo>
                <a:cubicBezTo>
                  <a:pt x="76126" y="507963"/>
                  <a:pt x="70145" y="513944"/>
                  <a:pt x="62836" y="513944"/>
                </a:cubicBezTo>
                <a:cubicBezTo>
                  <a:pt x="55525" y="513944"/>
                  <a:pt x="49545" y="507963"/>
                  <a:pt x="49545" y="500653"/>
                </a:cubicBezTo>
                <a:lnTo>
                  <a:pt x="49545" y="338802"/>
                </a:lnTo>
                <a:lnTo>
                  <a:pt x="23185" y="365162"/>
                </a:lnTo>
                <a:cubicBezTo>
                  <a:pt x="20601" y="367746"/>
                  <a:pt x="17204" y="369075"/>
                  <a:pt x="13807" y="369075"/>
                </a:cubicBezTo>
                <a:cubicBezTo>
                  <a:pt x="10411" y="369075"/>
                  <a:pt x="7015" y="367746"/>
                  <a:pt x="4430" y="365162"/>
                </a:cubicBezTo>
                <a:cubicBezTo>
                  <a:pt x="-738" y="359993"/>
                  <a:pt x="-738" y="351576"/>
                  <a:pt x="4430" y="346333"/>
                </a:cubicBezTo>
                <a:lnTo>
                  <a:pt x="53532" y="297232"/>
                </a:lnTo>
                <a:cubicBezTo>
                  <a:pt x="53827" y="296936"/>
                  <a:pt x="54196" y="296641"/>
                  <a:pt x="54492" y="296346"/>
                </a:cubicBezTo>
                <a:cubicBezTo>
                  <a:pt x="54640" y="296198"/>
                  <a:pt x="54787" y="296124"/>
                  <a:pt x="54935" y="295977"/>
                </a:cubicBezTo>
                <a:cubicBezTo>
                  <a:pt x="55156" y="295829"/>
                  <a:pt x="55304" y="295681"/>
                  <a:pt x="55525" y="295533"/>
                </a:cubicBezTo>
                <a:cubicBezTo>
                  <a:pt x="55747" y="295386"/>
                  <a:pt x="55895" y="295312"/>
                  <a:pt x="56116" y="295164"/>
                </a:cubicBezTo>
                <a:cubicBezTo>
                  <a:pt x="56264" y="295090"/>
                  <a:pt x="56485" y="294943"/>
                  <a:pt x="56633" y="294869"/>
                </a:cubicBezTo>
                <a:cubicBezTo>
                  <a:pt x="56855" y="294795"/>
                  <a:pt x="57002" y="294647"/>
                  <a:pt x="57224" y="294573"/>
                </a:cubicBezTo>
                <a:cubicBezTo>
                  <a:pt x="57445" y="294500"/>
                  <a:pt x="57593" y="294352"/>
                  <a:pt x="57814" y="294278"/>
                </a:cubicBezTo>
                <a:cubicBezTo>
                  <a:pt x="58036" y="294204"/>
                  <a:pt x="58184" y="294131"/>
                  <a:pt x="58405" y="294057"/>
                </a:cubicBezTo>
                <a:cubicBezTo>
                  <a:pt x="58627" y="293983"/>
                  <a:pt x="58848" y="293909"/>
                  <a:pt x="59070" y="293835"/>
                </a:cubicBezTo>
                <a:cubicBezTo>
                  <a:pt x="59291" y="293761"/>
                  <a:pt x="59439" y="293761"/>
                  <a:pt x="59660" y="293688"/>
                </a:cubicBezTo>
                <a:cubicBezTo>
                  <a:pt x="59882" y="293614"/>
                  <a:pt x="60103" y="293540"/>
                  <a:pt x="60325" y="293540"/>
                </a:cubicBezTo>
                <a:cubicBezTo>
                  <a:pt x="60547" y="293466"/>
                  <a:pt x="60768" y="293466"/>
                  <a:pt x="60990" y="293466"/>
                </a:cubicBezTo>
                <a:cubicBezTo>
                  <a:pt x="61211" y="293466"/>
                  <a:pt x="61359" y="293392"/>
                  <a:pt x="61580" y="293392"/>
                </a:cubicBezTo>
                <a:cubicBezTo>
                  <a:pt x="62023" y="293318"/>
                  <a:pt x="6246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2836" y="293318"/>
                  <a:pt x="62836" y="293318"/>
                  <a:pt x="62836" y="293318"/>
                </a:cubicBezTo>
                <a:cubicBezTo>
                  <a:pt x="63278" y="293318"/>
                  <a:pt x="63721" y="293318"/>
                  <a:pt x="64091" y="293392"/>
                </a:cubicBezTo>
                <a:cubicBezTo>
                  <a:pt x="64312" y="293392"/>
                  <a:pt x="64460" y="293466"/>
                  <a:pt x="64681" y="293466"/>
                </a:cubicBezTo>
                <a:cubicBezTo>
                  <a:pt x="64903" y="293466"/>
                  <a:pt x="65124" y="293540"/>
                  <a:pt x="65346" y="293540"/>
                </a:cubicBezTo>
                <a:cubicBezTo>
                  <a:pt x="65567" y="293614"/>
                  <a:pt x="65789" y="293614"/>
                  <a:pt x="66010" y="293688"/>
                </a:cubicBezTo>
                <a:cubicBezTo>
                  <a:pt x="66232" y="293761"/>
                  <a:pt x="66380" y="293761"/>
                  <a:pt x="66601" y="293835"/>
                </a:cubicBezTo>
                <a:cubicBezTo>
                  <a:pt x="66823" y="293909"/>
                  <a:pt x="67044" y="293983"/>
                  <a:pt x="67266" y="294057"/>
                </a:cubicBezTo>
                <a:cubicBezTo>
                  <a:pt x="67487" y="294131"/>
                  <a:pt x="67635" y="294204"/>
                  <a:pt x="67856" y="294278"/>
                </a:cubicBezTo>
                <a:cubicBezTo>
                  <a:pt x="68078" y="294352"/>
                  <a:pt x="68226" y="294426"/>
                  <a:pt x="68447" y="294573"/>
                </a:cubicBezTo>
                <a:cubicBezTo>
                  <a:pt x="68669" y="294647"/>
                  <a:pt x="68816" y="294721"/>
                  <a:pt x="69038" y="294869"/>
                </a:cubicBezTo>
                <a:cubicBezTo>
                  <a:pt x="69259" y="294943"/>
                  <a:pt x="69407" y="295090"/>
                  <a:pt x="69554" y="295164"/>
                </a:cubicBezTo>
                <a:cubicBezTo>
                  <a:pt x="69776" y="295312"/>
                  <a:pt x="69924" y="295386"/>
                  <a:pt x="70145" y="295533"/>
                </a:cubicBezTo>
                <a:cubicBezTo>
                  <a:pt x="70367" y="295681"/>
                  <a:pt x="70515" y="295829"/>
                  <a:pt x="70736" y="295977"/>
                </a:cubicBezTo>
                <a:cubicBezTo>
                  <a:pt x="70884" y="296124"/>
                  <a:pt x="71031" y="296198"/>
                  <a:pt x="71179" y="296346"/>
                </a:cubicBezTo>
                <a:cubicBezTo>
                  <a:pt x="71548" y="296641"/>
                  <a:pt x="71843" y="296936"/>
                  <a:pt x="72139" y="297232"/>
                </a:cubicBezTo>
                <a:lnTo>
                  <a:pt x="121240" y="346333"/>
                </a:lnTo>
                <a:close/>
                <a:moveTo>
                  <a:pt x="248979" y="210842"/>
                </a:moveTo>
                <a:cubicBezTo>
                  <a:pt x="254147" y="216011"/>
                  <a:pt x="254147" y="224428"/>
                  <a:pt x="248979" y="229671"/>
                </a:cubicBezTo>
                <a:cubicBezTo>
                  <a:pt x="246395" y="232255"/>
                  <a:pt x="242998" y="233584"/>
                  <a:pt x="239602" y="233584"/>
                </a:cubicBezTo>
                <a:cubicBezTo>
                  <a:pt x="236205" y="233584"/>
                  <a:pt x="232809" y="232255"/>
                  <a:pt x="230224" y="229671"/>
                </a:cubicBezTo>
                <a:lnTo>
                  <a:pt x="203865" y="203311"/>
                </a:lnTo>
                <a:lnTo>
                  <a:pt x="203865" y="500653"/>
                </a:lnTo>
                <a:cubicBezTo>
                  <a:pt x="203865" y="507963"/>
                  <a:pt x="197884" y="513944"/>
                  <a:pt x="190574" y="513944"/>
                </a:cubicBezTo>
                <a:cubicBezTo>
                  <a:pt x="183264" y="513944"/>
                  <a:pt x="177283" y="507963"/>
                  <a:pt x="177283" y="500653"/>
                </a:cubicBezTo>
                <a:lnTo>
                  <a:pt x="177283" y="203311"/>
                </a:lnTo>
                <a:lnTo>
                  <a:pt x="150923" y="229671"/>
                </a:lnTo>
                <a:cubicBezTo>
                  <a:pt x="148339" y="232255"/>
                  <a:pt x="144942" y="233584"/>
                  <a:pt x="141546" y="233584"/>
                </a:cubicBezTo>
                <a:cubicBezTo>
                  <a:pt x="138149" y="233584"/>
                  <a:pt x="134753" y="232255"/>
                  <a:pt x="132169" y="229671"/>
                </a:cubicBezTo>
                <a:cubicBezTo>
                  <a:pt x="127000" y="224502"/>
                  <a:pt x="127000" y="216085"/>
                  <a:pt x="132169" y="210842"/>
                </a:cubicBezTo>
                <a:lnTo>
                  <a:pt x="181270" y="161740"/>
                </a:lnTo>
                <a:cubicBezTo>
                  <a:pt x="181270" y="161740"/>
                  <a:pt x="181270" y="161740"/>
                  <a:pt x="181270" y="161740"/>
                </a:cubicBezTo>
                <a:cubicBezTo>
                  <a:pt x="181566" y="161445"/>
                  <a:pt x="181935" y="161150"/>
                  <a:pt x="182230" y="160854"/>
                </a:cubicBezTo>
                <a:cubicBezTo>
                  <a:pt x="182378" y="160707"/>
                  <a:pt x="182525" y="160633"/>
                  <a:pt x="182673" y="160485"/>
                </a:cubicBezTo>
                <a:cubicBezTo>
                  <a:pt x="182895" y="160337"/>
                  <a:pt x="183042" y="160190"/>
                  <a:pt x="183264" y="160042"/>
                </a:cubicBezTo>
                <a:cubicBezTo>
                  <a:pt x="183485" y="159894"/>
                  <a:pt x="183633" y="159820"/>
                  <a:pt x="183855" y="159673"/>
                </a:cubicBezTo>
                <a:cubicBezTo>
                  <a:pt x="184002" y="159599"/>
                  <a:pt x="184224" y="159451"/>
                  <a:pt x="184371" y="159378"/>
                </a:cubicBezTo>
                <a:cubicBezTo>
                  <a:pt x="184593" y="159304"/>
                  <a:pt x="184740" y="159156"/>
                  <a:pt x="184962" y="159082"/>
                </a:cubicBezTo>
                <a:cubicBezTo>
                  <a:pt x="185184" y="159009"/>
                  <a:pt x="185331" y="158861"/>
                  <a:pt x="185553" y="158787"/>
                </a:cubicBezTo>
                <a:cubicBezTo>
                  <a:pt x="185774" y="158713"/>
                  <a:pt x="185922" y="158639"/>
                  <a:pt x="186144" y="158565"/>
                </a:cubicBezTo>
                <a:cubicBezTo>
                  <a:pt x="186365" y="158492"/>
                  <a:pt x="186586" y="158418"/>
                  <a:pt x="186808" y="158344"/>
                </a:cubicBezTo>
                <a:cubicBezTo>
                  <a:pt x="187030" y="158270"/>
                  <a:pt x="187177" y="158270"/>
                  <a:pt x="187399" y="158196"/>
                </a:cubicBezTo>
                <a:cubicBezTo>
                  <a:pt x="187620" y="158122"/>
                  <a:pt x="187842" y="158048"/>
                  <a:pt x="188063" y="158048"/>
                </a:cubicBezTo>
                <a:cubicBezTo>
                  <a:pt x="188285" y="157975"/>
                  <a:pt x="188506" y="157975"/>
                  <a:pt x="188728" y="157975"/>
                </a:cubicBezTo>
                <a:cubicBezTo>
                  <a:pt x="188949" y="157975"/>
                  <a:pt x="189171" y="157901"/>
                  <a:pt x="189319" y="157901"/>
                </a:cubicBezTo>
                <a:cubicBezTo>
                  <a:pt x="189688" y="157827"/>
                  <a:pt x="190131" y="157827"/>
                  <a:pt x="190500" y="157827"/>
                </a:cubicBezTo>
                <a:cubicBezTo>
                  <a:pt x="190500" y="157827"/>
                  <a:pt x="190574" y="157827"/>
                  <a:pt x="190574" y="157827"/>
                </a:cubicBezTo>
                <a:cubicBezTo>
                  <a:pt x="190574" y="157827"/>
                  <a:pt x="190647" y="157827"/>
                  <a:pt x="190647" y="157827"/>
                </a:cubicBezTo>
                <a:cubicBezTo>
                  <a:pt x="191017" y="157827"/>
                  <a:pt x="191460" y="157827"/>
                  <a:pt x="191829" y="157901"/>
                </a:cubicBezTo>
                <a:cubicBezTo>
                  <a:pt x="192051" y="157901"/>
                  <a:pt x="192272" y="157975"/>
                  <a:pt x="192420" y="157975"/>
                </a:cubicBezTo>
                <a:cubicBezTo>
                  <a:pt x="192641" y="157975"/>
                  <a:pt x="192863" y="158048"/>
                  <a:pt x="193084" y="158048"/>
                </a:cubicBezTo>
                <a:cubicBezTo>
                  <a:pt x="193306" y="158122"/>
                  <a:pt x="193527" y="158122"/>
                  <a:pt x="193749" y="158196"/>
                </a:cubicBezTo>
                <a:cubicBezTo>
                  <a:pt x="193970" y="158270"/>
                  <a:pt x="194118" y="158270"/>
                  <a:pt x="194339" y="158344"/>
                </a:cubicBezTo>
                <a:cubicBezTo>
                  <a:pt x="194561" y="158418"/>
                  <a:pt x="194782" y="158492"/>
                  <a:pt x="195004" y="158565"/>
                </a:cubicBezTo>
                <a:cubicBezTo>
                  <a:pt x="195226" y="158639"/>
                  <a:pt x="195373" y="158713"/>
                  <a:pt x="195595" y="158787"/>
                </a:cubicBezTo>
                <a:cubicBezTo>
                  <a:pt x="195816" y="158861"/>
                  <a:pt x="195964" y="158935"/>
                  <a:pt x="196185" y="159082"/>
                </a:cubicBezTo>
                <a:cubicBezTo>
                  <a:pt x="196407" y="159156"/>
                  <a:pt x="196554" y="159230"/>
                  <a:pt x="196776" y="159378"/>
                </a:cubicBezTo>
                <a:cubicBezTo>
                  <a:pt x="196998" y="159451"/>
                  <a:pt x="197145" y="159599"/>
                  <a:pt x="197293" y="159673"/>
                </a:cubicBezTo>
                <a:cubicBezTo>
                  <a:pt x="197515" y="159820"/>
                  <a:pt x="197662" y="159894"/>
                  <a:pt x="197884" y="160042"/>
                </a:cubicBezTo>
                <a:cubicBezTo>
                  <a:pt x="198105" y="160190"/>
                  <a:pt x="198253" y="160337"/>
                  <a:pt x="198474" y="160485"/>
                </a:cubicBezTo>
                <a:cubicBezTo>
                  <a:pt x="198622" y="160633"/>
                  <a:pt x="198770" y="160707"/>
                  <a:pt x="198917" y="160854"/>
                </a:cubicBezTo>
                <a:cubicBezTo>
                  <a:pt x="199287" y="161150"/>
                  <a:pt x="199582" y="161445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cubicBezTo>
                  <a:pt x="199877" y="161740"/>
                  <a:pt x="199877" y="161740"/>
                  <a:pt x="199877" y="161740"/>
                </a:cubicBezTo>
                <a:lnTo>
                  <a:pt x="248979" y="21084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23" name="Forma libre 87">
            <a:extLst>
              <a:ext uri="{FF2B5EF4-FFF2-40B4-BE49-F238E27FC236}">
                <a16:creationId xmlns:a16="http://schemas.microsoft.com/office/drawing/2014/main" id="{7830A52B-208F-2D5E-0104-5764D686F9CF}"/>
              </a:ext>
            </a:extLst>
          </p:cNvPr>
          <p:cNvSpPr/>
          <p:nvPr/>
        </p:nvSpPr>
        <p:spPr>
          <a:xfrm>
            <a:off x="6812266" y="4346926"/>
            <a:ext cx="338734" cy="338734"/>
          </a:xfrm>
          <a:custGeom>
            <a:avLst/>
            <a:gdLst>
              <a:gd name="connsiteX0" fmla="*/ 242383 w 483059"/>
              <a:gd name="connsiteY0" fmla="*/ 482731 h 483059"/>
              <a:gd name="connsiteX1" fmla="*/ 242777 w 483059"/>
              <a:gd name="connsiteY1" fmla="*/ 482731 h 483059"/>
              <a:gd name="connsiteX2" fmla="*/ 253672 w 483059"/>
              <a:gd name="connsiteY2" fmla="*/ 482469 h 483059"/>
              <a:gd name="connsiteX3" fmla="*/ 482731 w 483059"/>
              <a:gd name="connsiteY3" fmla="*/ 241858 h 483059"/>
              <a:gd name="connsiteX4" fmla="*/ 241858 w 483059"/>
              <a:gd name="connsiteY4" fmla="*/ 984 h 483059"/>
              <a:gd name="connsiteX5" fmla="*/ 984 w 483059"/>
              <a:gd name="connsiteY5" fmla="*/ 241858 h 483059"/>
              <a:gd name="connsiteX6" fmla="*/ 241858 w 483059"/>
              <a:gd name="connsiteY6" fmla="*/ 482731 h 483059"/>
              <a:gd name="connsiteX7" fmla="*/ 242383 w 483059"/>
              <a:gd name="connsiteY7" fmla="*/ 482731 h 483059"/>
              <a:gd name="connsiteX8" fmla="*/ 241070 w 483059"/>
              <a:gd name="connsiteY8" fmla="*/ 278613 h 483059"/>
              <a:gd name="connsiteX9" fmla="*/ 171106 w 483059"/>
              <a:gd name="connsiteY9" fmla="*/ 208648 h 483059"/>
              <a:gd name="connsiteX10" fmla="*/ 241070 w 483059"/>
              <a:gd name="connsiteY10" fmla="*/ 138683 h 483059"/>
              <a:gd name="connsiteX11" fmla="*/ 311035 w 483059"/>
              <a:gd name="connsiteY11" fmla="*/ 208648 h 483059"/>
              <a:gd name="connsiteX12" fmla="*/ 241070 w 483059"/>
              <a:gd name="connsiteY12" fmla="*/ 278613 h 483059"/>
              <a:gd name="connsiteX13" fmla="*/ 241070 w 483059"/>
              <a:gd name="connsiteY13" fmla="*/ 364329 h 483059"/>
              <a:gd name="connsiteX14" fmla="*/ 347659 w 483059"/>
              <a:gd name="connsiteY14" fmla="*/ 395833 h 483059"/>
              <a:gd name="connsiteX15" fmla="*/ 251178 w 483059"/>
              <a:gd name="connsiteY15" fmla="*/ 435344 h 483059"/>
              <a:gd name="connsiteX16" fmla="*/ 242383 w 483059"/>
              <a:gd name="connsiteY16" fmla="*/ 435607 h 483059"/>
              <a:gd name="connsiteX17" fmla="*/ 136451 w 483059"/>
              <a:gd name="connsiteY17" fmla="*/ 394520 h 483059"/>
              <a:gd name="connsiteX18" fmla="*/ 241070 w 483059"/>
              <a:gd name="connsiteY18" fmla="*/ 364329 h 483059"/>
              <a:gd name="connsiteX19" fmla="*/ 48503 w 483059"/>
              <a:gd name="connsiteY19" fmla="*/ 241858 h 483059"/>
              <a:gd name="connsiteX20" fmla="*/ 242121 w 483059"/>
              <a:gd name="connsiteY20" fmla="*/ 48240 h 483059"/>
              <a:gd name="connsiteX21" fmla="*/ 435738 w 483059"/>
              <a:gd name="connsiteY21" fmla="*/ 241858 h 483059"/>
              <a:gd name="connsiteX22" fmla="*/ 388482 w 483059"/>
              <a:gd name="connsiteY22" fmla="*/ 368398 h 483059"/>
              <a:gd name="connsiteX23" fmla="*/ 386645 w 483059"/>
              <a:gd name="connsiteY23" fmla="*/ 366692 h 483059"/>
              <a:gd name="connsiteX24" fmla="*/ 278875 w 483059"/>
              <a:gd name="connsiteY24" fmla="*/ 319699 h 483059"/>
              <a:gd name="connsiteX25" fmla="*/ 358291 w 483059"/>
              <a:gd name="connsiteY25" fmla="*/ 208648 h 483059"/>
              <a:gd name="connsiteX26" fmla="*/ 241070 w 483059"/>
              <a:gd name="connsiteY26" fmla="*/ 91427 h 483059"/>
              <a:gd name="connsiteX27" fmla="*/ 123850 w 483059"/>
              <a:gd name="connsiteY27" fmla="*/ 208648 h 483059"/>
              <a:gd name="connsiteX28" fmla="*/ 203397 w 483059"/>
              <a:gd name="connsiteY28" fmla="*/ 319699 h 483059"/>
              <a:gd name="connsiteX29" fmla="*/ 98121 w 483059"/>
              <a:gd name="connsiteY29" fmla="*/ 364461 h 483059"/>
              <a:gd name="connsiteX30" fmla="*/ 94971 w 483059"/>
              <a:gd name="connsiteY30" fmla="*/ 367611 h 483059"/>
              <a:gd name="connsiteX31" fmla="*/ 48503 w 483059"/>
              <a:gd name="connsiteY31" fmla="*/ 241858 h 483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483059" h="483059">
                <a:moveTo>
                  <a:pt x="242383" y="482731"/>
                </a:moveTo>
                <a:cubicBezTo>
                  <a:pt x="242514" y="482731"/>
                  <a:pt x="242646" y="482731"/>
                  <a:pt x="242777" y="482731"/>
                </a:cubicBezTo>
                <a:cubicBezTo>
                  <a:pt x="246452" y="482731"/>
                  <a:pt x="249997" y="482600"/>
                  <a:pt x="253672" y="482469"/>
                </a:cubicBezTo>
                <a:cubicBezTo>
                  <a:pt x="381000" y="476299"/>
                  <a:pt x="482731" y="370761"/>
                  <a:pt x="482731" y="241858"/>
                </a:cubicBezTo>
                <a:cubicBezTo>
                  <a:pt x="482731" y="109017"/>
                  <a:pt x="374699" y="984"/>
                  <a:pt x="241858" y="984"/>
                </a:cubicBezTo>
                <a:cubicBezTo>
                  <a:pt x="109017" y="984"/>
                  <a:pt x="984" y="109017"/>
                  <a:pt x="984" y="241858"/>
                </a:cubicBezTo>
                <a:cubicBezTo>
                  <a:pt x="984" y="374699"/>
                  <a:pt x="109017" y="482731"/>
                  <a:pt x="241858" y="482731"/>
                </a:cubicBezTo>
                <a:cubicBezTo>
                  <a:pt x="242121" y="482731"/>
                  <a:pt x="242252" y="482731"/>
                  <a:pt x="242383" y="482731"/>
                </a:cubicBezTo>
                <a:close/>
                <a:moveTo>
                  <a:pt x="241070" y="278613"/>
                </a:moveTo>
                <a:cubicBezTo>
                  <a:pt x="202478" y="278613"/>
                  <a:pt x="171106" y="247240"/>
                  <a:pt x="171106" y="208648"/>
                </a:cubicBezTo>
                <a:cubicBezTo>
                  <a:pt x="171106" y="170055"/>
                  <a:pt x="202478" y="138683"/>
                  <a:pt x="241070" y="138683"/>
                </a:cubicBezTo>
                <a:cubicBezTo>
                  <a:pt x="279663" y="138683"/>
                  <a:pt x="311035" y="170055"/>
                  <a:pt x="311035" y="208648"/>
                </a:cubicBezTo>
                <a:cubicBezTo>
                  <a:pt x="311035" y="247240"/>
                  <a:pt x="279663" y="278613"/>
                  <a:pt x="241070" y="278613"/>
                </a:cubicBezTo>
                <a:close/>
                <a:moveTo>
                  <a:pt x="241070" y="364329"/>
                </a:moveTo>
                <a:cubicBezTo>
                  <a:pt x="282419" y="364329"/>
                  <a:pt x="321537" y="376012"/>
                  <a:pt x="347659" y="395833"/>
                </a:cubicBezTo>
                <a:cubicBezTo>
                  <a:pt x="320749" y="419724"/>
                  <a:pt x="287014" y="433507"/>
                  <a:pt x="251178" y="435344"/>
                </a:cubicBezTo>
                <a:cubicBezTo>
                  <a:pt x="248290" y="435476"/>
                  <a:pt x="245402" y="435607"/>
                  <a:pt x="242383" y="435607"/>
                </a:cubicBezTo>
                <a:cubicBezTo>
                  <a:pt x="202741" y="435476"/>
                  <a:pt x="165461" y="421036"/>
                  <a:pt x="136451" y="394520"/>
                </a:cubicBezTo>
                <a:cubicBezTo>
                  <a:pt x="162573" y="375356"/>
                  <a:pt x="200903" y="364329"/>
                  <a:pt x="241070" y="364329"/>
                </a:cubicBezTo>
                <a:close/>
                <a:moveTo>
                  <a:pt x="48503" y="241858"/>
                </a:moveTo>
                <a:cubicBezTo>
                  <a:pt x="48503" y="135139"/>
                  <a:pt x="135401" y="48240"/>
                  <a:pt x="242121" y="48240"/>
                </a:cubicBezTo>
                <a:cubicBezTo>
                  <a:pt x="348840" y="48240"/>
                  <a:pt x="435738" y="135139"/>
                  <a:pt x="435738" y="241858"/>
                </a:cubicBezTo>
                <a:cubicBezTo>
                  <a:pt x="435738" y="290164"/>
                  <a:pt x="417886" y="334532"/>
                  <a:pt x="388482" y="368398"/>
                </a:cubicBezTo>
                <a:cubicBezTo>
                  <a:pt x="387958" y="367742"/>
                  <a:pt x="387301" y="367217"/>
                  <a:pt x="386645" y="366692"/>
                </a:cubicBezTo>
                <a:cubicBezTo>
                  <a:pt x="359604" y="342145"/>
                  <a:pt x="321537" y="325868"/>
                  <a:pt x="278875" y="319699"/>
                </a:cubicBezTo>
                <a:cubicBezTo>
                  <a:pt x="325081" y="303947"/>
                  <a:pt x="358291" y="260104"/>
                  <a:pt x="358291" y="208648"/>
                </a:cubicBezTo>
                <a:cubicBezTo>
                  <a:pt x="358291" y="143933"/>
                  <a:pt x="305653" y="91427"/>
                  <a:pt x="241070" y="91427"/>
                </a:cubicBezTo>
                <a:cubicBezTo>
                  <a:pt x="176488" y="91427"/>
                  <a:pt x="123850" y="144065"/>
                  <a:pt x="123850" y="208648"/>
                </a:cubicBezTo>
                <a:cubicBezTo>
                  <a:pt x="123850" y="260104"/>
                  <a:pt x="157191" y="303947"/>
                  <a:pt x="203397" y="319699"/>
                </a:cubicBezTo>
                <a:cubicBezTo>
                  <a:pt x="162179" y="325606"/>
                  <a:pt x="125031" y="341226"/>
                  <a:pt x="98121" y="364461"/>
                </a:cubicBezTo>
                <a:cubicBezTo>
                  <a:pt x="96940" y="365379"/>
                  <a:pt x="95890" y="366429"/>
                  <a:pt x="94971" y="367611"/>
                </a:cubicBezTo>
                <a:cubicBezTo>
                  <a:pt x="65961" y="333613"/>
                  <a:pt x="48503" y="289770"/>
                  <a:pt x="48503" y="241858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24" name="Forma libre 88">
            <a:extLst>
              <a:ext uri="{FF2B5EF4-FFF2-40B4-BE49-F238E27FC236}">
                <a16:creationId xmlns:a16="http://schemas.microsoft.com/office/drawing/2014/main" id="{4D52006E-7404-B7D4-804B-3233A0E09614}"/>
              </a:ext>
            </a:extLst>
          </p:cNvPr>
          <p:cNvSpPr/>
          <p:nvPr/>
        </p:nvSpPr>
        <p:spPr>
          <a:xfrm>
            <a:off x="7132682" y="4477081"/>
            <a:ext cx="338734" cy="533875"/>
          </a:xfrm>
          <a:custGeom>
            <a:avLst/>
            <a:gdLst>
              <a:gd name="connsiteX0" fmla="*/ 482863 w 483059"/>
              <a:gd name="connsiteY0" fmla="*/ 520667 h 761343"/>
              <a:gd name="connsiteX1" fmla="*/ 255641 w 483059"/>
              <a:gd name="connsiteY1" fmla="*/ 280188 h 761343"/>
              <a:gd name="connsiteX2" fmla="*/ 256429 w 483059"/>
              <a:gd name="connsiteY2" fmla="*/ 279925 h 761343"/>
              <a:gd name="connsiteX3" fmla="*/ 257478 w 483059"/>
              <a:gd name="connsiteY3" fmla="*/ 279663 h 761343"/>
              <a:gd name="connsiteX4" fmla="*/ 258660 w 483059"/>
              <a:gd name="connsiteY4" fmla="*/ 279269 h 761343"/>
              <a:gd name="connsiteX5" fmla="*/ 259710 w 483059"/>
              <a:gd name="connsiteY5" fmla="*/ 278875 h 761343"/>
              <a:gd name="connsiteX6" fmla="*/ 260760 w 483059"/>
              <a:gd name="connsiteY6" fmla="*/ 278350 h 761343"/>
              <a:gd name="connsiteX7" fmla="*/ 261811 w 483059"/>
              <a:gd name="connsiteY7" fmla="*/ 277825 h 761343"/>
              <a:gd name="connsiteX8" fmla="*/ 262729 w 483059"/>
              <a:gd name="connsiteY8" fmla="*/ 277300 h 761343"/>
              <a:gd name="connsiteX9" fmla="*/ 263780 w 483059"/>
              <a:gd name="connsiteY9" fmla="*/ 276643 h 761343"/>
              <a:gd name="connsiteX10" fmla="*/ 264829 w 483059"/>
              <a:gd name="connsiteY10" fmla="*/ 275856 h 761343"/>
              <a:gd name="connsiteX11" fmla="*/ 265749 w 483059"/>
              <a:gd name="connsiteY11" fmla="*/ 275199 h 761343"/>
              <a:gd name="connsiteX12" fmla="*/ 267455 w 483059"/>
              <a:gd name="connsiteY12" fmla="*/ 273624 h 761343"/>
              <a:gd name="connsiteX13" fmla="*/ 267455 w 483059"/>
              <a:gd name="connsiteY13" fmla="*/ 273624 h 761343"/>
              <a:gd name="connsiteX14" fmla="*/ 324424 w 483059"/>
              <a:gd name="connsiteY14" fmla="*/ 216655 h 761343"/>
              <a:gd name="connsiteX15" fmla="*/ 324424 w 483059"/>
              <a:gd name="connsiteY15" fmla="*/ 183182 h 761343"/>
              <a:gd name="connsiteX16" fmla="*/ 290951 w 483059"/>
              <a:gd name="connsiteY16" fmla="*/ 183182 h 761343"/>
              <a:gd name="connsiteX17" fmla="*/ 274281 w 483059"/>
              <a:gd name="connsiteY17" fmla="*/ 199853 h 761343"/>
              <a:gd name="connsiteX18" fmla="*/ 274281 w 483059"/>
              <a:gd name="connsiteY18" fmla="*/ 128969 h 761343"/>
              <a:gd name="connsiteX19" fmla="*/ 212060 w 483059"/>
              <a:gd name="connsiteY19" fmla="*/ 20018 h 761343"/>
              <a:gd name="connsiteX20" fmla="*/ 69636 w 483059"/>
              <a:gd name="connsiteY20" fmla="*/ 984 h 761343"/>
              <a:gd name="connsiteX21" fmla="*/ 46009 w 483059"/>
              <a:gd name="connsiteY21" fmla="*/ 24612 h 761343"/>
              <a:gd name="connsiteX22" fmla="*/ 69636 w 483059"/>
              <a:gd name="connsiteY22" fmla="*/ 48240 h 761343"/>
              <a:gd name="connsiteX23" fmla="*/ 192370 w 483059"/>
              <a:gd name="connsiteY23" fmla="*/ 62942 h 761343"/>
              <a:gd name="connsiteX24" fmla="*/ 227025 w 483059"/>
              <a:gd name="connsiteY24" fmla="*/ 128838 h 761343"/>
              <a:gd name="connsiteX25" fmla="*/ 227025 w 483059"/>
              <a:gd name="connsiteY25" fmla="*/ 199721 h 761343"/>
              <a:gd name="connsiteX26" fmla="*/ 210354 w 483059"/>
              <a:gd name="connsiteY26" fmla="*/ 183051 h 761343"/>
              <a:gd name="connsiteX27" fmla="*/ 176881 w 483059"/>
              <a:gd name="connsiteY27" fmla="*/ 183051 h 761343"/>
              <a:gd name="connsiteX28" fmla="*/ 176881 w 483059"/>
              <a:gd name="connsiteY28" fmla="*/ 216523 h 761343"/>
              <a:gd name="connsiteX29" fmla="*/ 233851 w 483059"/>
              <a:gd name="connsiteY29" fmla="*/ 273493 h 761343"/>
              <a:gd name="connsiteX30" fmla="*/ 235557 w 483059"/>
              <a:gd name="connsiteY30" fmla="*/ 275068 h 761343"/>
              <a:gd name="connsiteX31" fmla="*/ 236344 w 483059"/>
              <a:gd name="connsiteY31" fmla="*/ 275725 h 761343"/>
              <a:gd name="connsiteX32" fmla="*/ 237395 w 483059"/>
              <a:gd name="connsiteY32" fmla="*/ 276512 h 761343"/>
              <a:gd name="connsiteX33" fmla="*/ 238445 w 483059"/>
              <a:gd name="connsiteY33" fmla="*/ 277168 h 761343"/>
              <a:gd name="connsiteX34" fmla="*/ 239364 w 483059"/>
              <a:gd name="connsiteY34" fmla="*/ 277694 h 761343"/>
              <a:gd name="connsiteX35" fmla="*/ 240414 w 483059"/>
              <a:gd name="connsiteY35" fmla="*/ 278219 h 761343"/>
              <a:gd name="connsiteX36" fmla="*/ 241464 w 483059"/>
              <a:gd name="connsiteY36" fmla="*/ 278744 h 761343"/>
              <a:gd name="connsiteX37" fmla="*/ 242514 w 483059"/>
              <a:gd name="connsiteY37" fmla="*/ 279137 h 761343"/>
              <a:gd name="connsiteX38" fmla="*/ 243695 w 483059"/>
              <a:gd name="connsiteY38" fmla="*/ 279531 h 761343"/>
              <a:gd name="connsiteX39" fmla="*/ 244090 w 483059"/>
              <a:gd name="connsiteY39" fmla="*/ 279663 h 761343"/>
              <a:gd name="connsiteX40" fmla="*/ 241858 w 483059"/>
              <a:gd name="connsiteY40" fmla="*/ 279663 h 761343"/>
              <a:gd name="connsiteX41" fmla="*/ 984 w 483059"/>
              <a:gd name="connsiteY41" fmla="*/ 520536 h 761343"/>
              <a:gd name="connsiteX42" fmla="*/ 241858 w 483059"/>
              <a:gd name="connsiteY42" fmla="*/ 761409 h 761343"/>
              <a:gd name="connsiteX43" fmla="*/ 242251 w 483059"/>
              <a:gd name="connsiteY43" fmla="*/ 761409 h 761343"/>
              <a:gd name="connsiteX44" fmla="*/ 242646 w 483059"/>
              <a:gd name="connsiteY44" fmla="*/ 761409 h 761343"/>
              <a:gd name="connsiteX45" fmla="*/ 253540 w 483059"/>
              <a:gd name="connsiteY45" fmla="*/ 761147 h 761343"/>
              <a:gd name="connsiteX46" fmla="*/ 482863 w 483059"/>
              <a:gd name="connsiteY46" fmla="*/ 520667 h 761343"/>
              <a:gd name="connsiteX47" fmla="*/ 48372 w 483059"/>
              <a:gd name="connsiteY47" fmla="*/ 520667 h 761343"/>
              <a:gd name="connsiteX48" fmla="*/ 241989 w 483059"/>
              <a:gd name="connsiteY48" fmla="*/ 327049 h 761343"/>
              <a:gd name="connsiteX49" fmla="*/ 435607 w 483059"/>
              <a:gd name="connsiteY49" fmla="*/ 520667 h 761343"/>
              <a:gd name="connsiteX50" fmla="*/ 388351 w 483059"/>
              <a:gd name="connsiteY50" fmla="*/ 647208 h 761343"/>
              <a:gd name="connsiteX51" fmla="*/ 386513 w 483059"/>
              <a:gd name="connsiteY51" fmla="*/ 645501 h 761343"/>
              <a:gd name="connsiteX52" fmla="*/ 278744 w 483059"/>
              <a:gd name="connsiteY52" fmla="*/ 598508 h 761343"/>
              <a:gd name="connsiteX53" fmla="*/ 358160 w 483059"/>
              <a:gd name="connsiteY53" fmla="*/ 487457 h 761343"/>
              <a:gd name="connsiteX54" fmla="*/ 240939 w 483059"/>
              <a:gd name="connsiteY54" fmla="*/ 370236 h 761343"/>
              <a:gd name="connsiteX55" fmla="*/ 123718 w 483059"/>
              <a:gd name="connsiteY55" fmla="*/ 487457 h 761343"/>
              <a:gd name="connsiteX56" fmla="*/ 203266 w 483059"/>
              <a:gd name="connsiteY56" fmla="*/ 598508 h 761343"/>
              <a:gd name="connsiteX57" fmla="*/ 97990 w 483059"/>
              <a:gd name="connsiteY57" fmla="*/ 643270 h 761343"/>
              <a:gd name="connsiteX58" fmla="*/ 94840 w 483059"/>
              <a:gd name="connsiteY58" fmla="*/ 646420 h 761343"/>
              <a:gd name="connsiteX59" fmla="*/ 48372 w 483059"/>
              <a:gd name="connsiteY59" fmla="*/ 520667 h 761343"/>
              <a:gd name="connsiteX60" fmla="*/ 242383 w 483059"/>
              <a:gd name="connsiteY60" fmla="*/ 714285 h 761343"/>
              <a:gd name="connsiteX61" fmla="*/ 136451 w 483059"/>
              <a:gd name="connsiteY61" fmla="*/ 673199 h 761343"/>
              <a:gd name="connsiteX62" fmla="*/ 241070 w 483059"/>
              <a:gd name="connsiteY62" fmla="*/ 643138 h 761343"/>
              <a:gd name="connsiteX63" fmla="*/ 347659 w 483059"/>
              <a:gd name="connsiteY63" fmla="*/ 674642 h 761343"/>
              <a:gd name="connsiteX64" fmla="*/ 251178 w 483059"/>
              <a:gd name="connsiteY64" fmla="*/ 714154 h 761343"/>
              <a:gd name="connsiteX65" fmla="*/ 242383 w 483059"/>
              <a:gd name="connsiteY65" fmla="*/ 714285 h 761343"/>
              <a:gd name="connsiteX66" fmla="*/ 240939 w 483059"/>
              <a:gd name="connsiteY66" fmla="*/ 557553 h 761343"/>
              <a:gd name="connsiteX67" fmla="*/ 170974 w 483059"/>
              <a:gd name="connsiteY67" fmla="*/ 487588 h 761343"/>
              <a:gd name="connsiteX68" fmla="*/ 240939 w 483059"/>
              <a:gd name="connsiteY68" fmla="*/ 417623 h 761343"/>
              <a:gd name="connsiteX69" fmla="*/ 310904 w 483059"/>
              <a:gd name="connsiteY69" fmla="*/ 487588 h 761343"/>
              <a:gd name="connsiteX70" fmla="*/ 240939 w 483059"/>
              <a:gd name="connsiteY70" fmla="*/ 557553 h 761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483059" h="761343">
                <a:moveTo>
                  <a:pt x="482863" y="520667"/>
                </a:moveTo>
                <a:cubicBezTo>
                  <a:pt x="482863" y="392420"/>
                  <a:pt x="382181" y="287276"/>
                  <a:pt x="255641" y="280188"/>
                </a:cubicBezTo>
                <a:cubicBezTo>
                  <a:pt x="255904" y="280188"/>
                  <a:pt x="256166" y="280056"/>
                  <a:pt x="256429" y="279925"/>
                </a:cubicBezTo>
                <a:cubicBezTo>
                  <a:pt x="256822" y="279794"/>
                  <a:pt x="257085" y="279794"/>
                  <a:pt x="257478" y="279663"/>
                </a:cubicBezTo>
                <a:cubicBezTo>
                  <a:pt x="257873" y="279531"/>
                  <a:pt x="258266" y="279400"/>
                  <a:pt x="258660" y="279269"/>
                </a:cubicBezTo>
                <a:cubicBezTo>
                  <a:pt x="259054" y="279137"/>
                  <a:pt x="259316" y="279006"/>
                  <a:pt x="259710" y="278875"/>
                </a:cubicBezTo>
                <a:cubicBezTo>
                  <a:pt x="260104" y="278744"/>
                  <a:pt x="260367" y="278612"/>
                  <a:pt x="260760" y="278350"/>
                </a:cubicBezTo>
                <a:cubicBezTo>
                  <a:pt x="261154" y="278219"/>
                  <a:pt x="261548" y="277956"/>
                  <a:pt x="261811" y="277825"/>
                </a:cubicBezTo>
                <a:cubicBezTo>
                  <a:pt x="262073" y="277694"/>
                  <a:pt x="262467" y="277431"/>
                  <a:pt x="262729" y="277300"/>
                </a:cubicBezTo>
                <a:cubicBezTo>
                  <a:pt x="263123" y="277037"/>
                  <a:pt x="263385" y="276906"/>
                  <a:pt x="263780" y="276643"/>
                </a:cubicBezTo>
                <a:cubicBezTo>
                  <a:pt x="264173" y="276381"/>
                  <a:pt x="264436" y="276118"/>
                  <a:pt x="264829" y="275856"/>
                </a:cubicBezTo>
                <a:cubicBezTo>
                  <a:pt x="265092" y="275593"/>
                  <a:pt x="265354" y="275462"/>
                  <a:pt x="265749" y="275199"/>
                </a:cubicBezTo>
                <a:cubicBezTo>
                  <a:pt x="266405" y="274674"/>
                  <a:pt x="266930" y="274149"/>
                  <a:pt x="267455" y="273624"/>
                </a:cubicBezTo>
                <a:cubicBezTo>
                  <a:pt x="267455" y="273624"/>
                  <a:pt x="267455" y="273624"/>
                  <a:pt x="267455" y="273624"/>
                </a:cubicBezTo>
                <a:lnTo>
                  <a:pt x="324424" y="216655"/>
                </a:lnTo>
                <a:cubicBezTo>
                  <a:pt x="333613" y="207466"/>
                  <a:pt x="333613" y="192502"/>
                  <a:pt x="324424" y="183182"/>
                </a:cubicBezTo>
                <a:cubicBezTo>
                  <a:pt x="315236" y="173993"/>
                  <a:pt x="300271" y="173993"/>
                  <a:pt x="290951" y="183182"/>
                </a:cubicBezTo>
                <a:lnTo>
                  <a:pt x="274281" y="199853"/>
                </a:lnTo>
                <a:lnTo>
                  <a:pt x="274281" y="128969"/>
                </a:lnTo>
                <a:cubicBezTo>
                  <a:pt x="274281" y="74887"/>
                  <a:pt x="253935" y="39314"/>
                  <a:pt x="212060" y="20018"/>
                </a:cubicBezTo>
                <a:cubicBezTo>
                  <a:pt x="177537" y="4135"/>
                  <a:pt x="131988" y="984"/>
                  <a:pt x="69636" y="984"/>
                </a:cubicBezTo>
                <a:cubicBezTo>
                  <a:pt x="56641" y="984"/>
                  <a:pt x="46009" y="11617"/>
                  <a:pt x="46009" y="24612"/>
                </a:cubicBezTo>
                <a:cubicBezTo>
                  <a:pt x="46009" y="37608"/>
                  <a:pt x="56641" y="48240"/>
                  <a:pt x="69636" y="48240"/>
                </a:cubicBezTo>
                <a:cubicBezTo>
                  <a:pt x="123981" y="48240"/>
                  <a:pt x="165724" y="50734"/>
                  <a:pt x="192370" y="62942"/>
                </a:cubicBezTo>
                <a:cubicBezTo>
                  <a:pt x="209566" y="70818"/>
                  <a:pt x="227025" y="84732"/>
                  <a:pt x="227025" y="128838"/>
                </a:cubicBezTo>
                <a:lnTo>
                  <a:pt x="227025" y="199721"/>
                </a:lnTo>
                <a:lnTo>
                  <a:pt x="210354" y="183051"/>
                </a:lnTo>
                <a:cubicBezTo>
                  <a:pt x="201165" y="173862"/>
                  <a:pt x="186201" y="173862"/>
                  <a:pt x="176881" y="183051"/>
                </a:cubicBezTo>
                <a:cubicBezTo>
                  <a:pt x="167693" y="192239"/>
                  <a:pt x="167693" y="207204"/>
                  <a:pt x="176881" y="216523"/>
                </a:cubicBezTo>
                <a:lnTo>
                  <a:pt x="233851" y="273493"/>
                </a:lnTo>
                <a:cubicBezTo>
                  <a:pt x="234375" y="274018"/>
                  <a:pt x="235032" y="274543"/>
                  <a:pt x="235557" y="275068"/>
                </a:cubicBezTo>
                <a:cubicBezTo>
                  <a:pt x="235820" y="275331"/>
                  <a:pt x="236082" y="275462"/>
                  <a:pt x="236344" y="275725"/>
                </a:cubicBezTo>
                <a:cubicBezTo>
                  <a:pt x="236739" y="275987"/>
                  <a:pt x="237001" y="276250"/>
                  <a:pt x="237395" y="276512"/>
                </a:cubicBezTo>
                <a:cubicBezTo>
                  <a:pt x="237789" y="276775"/>
                  <a:pt x="238051" y="276906"/>
                  <a:pt x="238445" y="277168"/>
                </a:cubicBezTo>
                <a:cubicBezTo>
                  <a:pt x="238708" y="277300"/>
                  <a:pt x="239101" y="277562"/>
                  <a:pt x="239364" y="277694"/>
                </a:cubicBezTo>
                <a:cubicBezTo>
                  <a:pt x="239758" y="277825"/>
                  <a:pt x="240020" y="278087"/>
                  <a:pt x="240414" y="278219"/>
                </a:cubicBezTo>
                <a:cubicBezTo>
                  <a:pt x="240808" y="278350"/>
                  <a:pt x="241070" y="278612"/>
                  <a:pt x="241464" y="278744"/>
                </a:cubicBezTo>
                <a:cubicBezTo>
                  <a:pt x="241858" y="278875"/>
                  <a:pt x="242121" y="279006"/>
                  <a:pt x="242514" y="279137"/>
                </a:cubicBezTo>
                <a:cubicBezTo>
                  <a:pt x="242908" y="279269"/>
                  <a:pt x="243302" y="279400"/>
                  <a:pt x="243695" y="279531"/>
                </a:cubicBezTo>
                <a:cubicBezTo>
                  <a:pt x="243827" y="279531"/>
                  <a:pt x="243958" y="279663"/>
                  <a:pt x="244090" y="279663"/>
                </a:cubicBezTo>
                <a:cubicBezTo>
                  <a:pt x="243302" y="279663"/>
                  <a:pt x="242646" y="279663"/>
                  <a:pt x="241858" y="279663"/>
                </a:cubicBezTo>
                <a:cubicBezTo>
                  <a:pt x="109016" y="279663"/>
                  <a:pt x="984" y="387695"/>
                  <a:pt x="984" y="520536"/>
                </a:cubicBezTo>
                <a:cubicBezTo>
                  <a:pt x="984" y="653377"/>
                  <a:pt x="109016" y="761409"/>
                  <a:pt x="241858" y="761409"/>
                </a:cubicBezTo>
                <a:cubicBezTo>
                  <a:pt x="241989" y="761409"/>
                  <a:pt x="242121" y="761409"/>
                  <a:pt x="242251" y="761409"/>
                </a:cubicBezTo>
                <a:cubicBezTo>
                  <a:pt x="242383" y="761409"/>
                  <a:pt x="242514" y="761409"/>
                  <a:pt x="242646" y="761409"/>
                </a:cubicBezTo>
                <a:cubicBezTo>
                  <a:pt x="246321" y="761409"/>
                  <a:pt x="249865" y="761278"/>
                  <a:pt x="253540" y="761147"/>
                </a:cubicBezTo>
                <a:cubicBezTo>
                  <a:pt x="381131" y="755109"/>
                  <a:pt x="482863" y="649571"/>
                  <a:pt x="482863" y="520667"/>
                </a:cubicBezTo>
                <a:close/>
                <a:moveTo>
                  <a:pt x="48372" y="520667"/>
                </a:moveTo>
                <a:cubicBezTo>
                  <a:pt x="48372" y="413948"/>
                  <a:pt x="135270" y="327049"/>
                  <a:pt x="241989" y="327049"/>
                </a:cubicBezTo>
                <a:cubicBezTo>
                  <a:pt x="348708" y="327049"/>
                  <a:pt x="435607" y="413948"/>
                  <a:pt x="435607" y="520667"/>
                </a:cubicBezTo>
                <a:cubicBezTo>
                  <a:pt x="435607" y="568973"/>
                  <a:pt x="417755" y="613341"/>
                  <a:pt x="388351" y="647208"/>
                </a:cubicBezTo>
                <a:cubicBezTo>
                  <a:pt x="387826" y="646551"/>
                  <a:pt x="387170" y="646026"/>
                  <a:pt x="386513" y="645501"/>
                </a:cubicBezTo>
                <a:cubicBezTo>
                  <a:pt x="359472" y="620955"/>
                  <a:pt x="321405" y="604677"/>
                  <a:pt x="278744" y="598508"/>
                </a:cubicBezTo>
                <a:cubicBezTo>
                  <a:pt x="324949" y="582756"/>
                  <a:pt x="358160" y="538913"/>
                  <a:pt x="358160" y="487457"/>
                </a:cubicBezTo>
                <a:cubicBezTo>
                  <a:pt x="358160" y="422743"/>
                  <a:pt x="305522" y="370236"/>
                  <a:pt x="240939" y="370236"/>
                </a:cubicBezTo>
                <a:cubicBezTo>
                  <a:pt x="176356" y="370236"/>
                  <a:pt x="123718" y="422874"/>
                  <a:pt x="123718" y="487457"/>
                </a:cubicBezTo>
                <a:cubicBezTo>
                  <a:pt x="123718" y="538913"/>
                  <a:pt x="157060" y="582756"/>
                  <a:pt x="203266" y="598508"/>
                </a:cubicBezTo>
                <a:cubicBezTo>
                  <a:pt x="162048" y="604415"/>
                  <a:pt x="124900" y="620036"/>
                  <a:pt x="97990" y="643270"/>
                </a:cubicBezTo>
                <a:cubicBezTo>
                  <a:pt x="96809" y="644189"/>
                  <a:pt x="95759" y="645239"/>
                  <a:pt x="94840" y="646420"/>
                </a:cubicBezTo>
                <a:cubicBezTo>
                  <a:pt x="65961" y="612553"/>
                  <a:pt x="48372" y="568579"/>
                  <a:pt x="48372" y="520667"/>
                </a:cubicBezTo>
                <a:close/>
                <a:moveTo>
                  <a:pt x="242383" y="714285"/>
                </a:moveTo>
                <a:cubicBezTo>
                  <a:pt x="202741" y="714154"/>
                  <a:pt x="165461" y="699714"/>
                  <a:pt x="136451" y="673199"/>
                </a:cubicBezTo>
                <a:cubicBezTo>
                  <a:pt x="162573" y="654296"/>
                  <a:pt x="200903" y="643138"/>
                  <a:pt x="241070" y="643138"/>
                </a:cubicBezTo>
                <a:cubicBezTo>
                  <a:pt x="282419" y="643138"/>
                  <a:pt x="321537" y="654821"/>
                  <a:pt x="347659" y="674642"/>
                </a:cubicBezTo>
                <a:cubicBezTo>
                  <a:pt x="320749" y="698533"/>
                  <a:pt x="287013" y="712316"/>
                  <a:pt x="251178" y="714154"/>
                </a:cubicBezTo>
                <a:cubicBezTo>
                  <a:pt x="248290" y="714154"/>
                  <a:pt x="245271" y="714285"/>
                  <a:pt x="242383" y="714285"/>
                </a:cubicBezTo>
                <a:close/>
                <a:moveTo>
                  <a:pt x="240939" y="557553"/>
                </a:moveTo>
                <a:cubicBezTo>
                  <a:pt x="202347" y="557553"/>
                  <a:pt x="170974" y="526181"/>
                  <a:pt x="170974" y="487588"/>
                </a:cubicBezTo>
                <a:cubicBezTo>
                  <a:pt x="170974" y="448996"/>
                  <a:pt x="202347" y="417623"/>
                  <a:pt x="240939" y="417623"/>
                </a:cubicBezTo>
                <a:cubicBezTo>
                  <a:pt x="279532" y="417623"/>
                  <a:pt x="310904" y="448996"/>
                  <a:pt x="310904" y="487588"/>
                </a:cubicBezTo>
                <a:cubicBezTo>
                  <a:pt x="310904" y="526049"/>
                  <a:pt x="279532" y="557553"/>
                  <a:pt x="240939" y="55755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25" name="Forma libre 89">
            <a:extLst>
              <a:ext uri="{FF2B5EF4-FFF2-40B4-BE49-F238E27FC236}">
                <a16:creationId xmlns:a16="http://schemas.microsoft.com/office/drawing/2014/main" id="{029F7F26-DC9C-EB82-D2FA-853446570AA5}"/>
              </a:ext>
            </a:extLst>
          </p:cNvPr>
          <p:cNvSpPr/>
          <p:nvPr/>
        </p:nvSpPr>
        <p:spPr>
          <a:xfrm>
            <a:off x="6918166" y="4689342"/>
            <a:ext cx="200663" cy="196982"/>
          </a:xfrm>
          <a:custGeom>
            <a:avLst/>
            <a:gdLst>
              <a:gd name="connsiteX0" fmla="*/ 262926 w 286160"/>
              <a:gd name="connsiteY0" fmla="*/ 233063 h 280909"/>
              <a:gd name="connsiteX1" fmla="*/ 140192 w 286160"/>
              <a:gd name="connsiteY1" fmla="*/ 218361 h 280909"/>
              <a:gd name="connsiteX2" fmla="*/ 105538 w 286160"/>
              <a:gd name="connsiteY2" fmla="*/ 152466 h 280909"/>
              <a:gd name="connsiteX3" fmla="*/ 105538 w 286160"/>
              <a:gd name="connsiteY3" fmla="*/ 81582 h 280909"/>
              <a:gd name="connsiteX4" fmla="*/ 122209 w 286160"/>
              <a:gd name="connsiteY4" fmla="*/ 98253 h 280909"/>
              <a:gd name="connsiteX5" fmla="*/ 138880 w 286160"/>
              <a:gd name="connsiteY5" fmla="*/ 105210 h 280909"/>
              <a:gd name="connsiteX6" fmla="*/ 155550 w 286160"/>
              <a:gd name="connsiteY6" fmla="*/ 98253 h 280909"/>
              <a:gd name="connsiteX7" fmla="*/ 155550 w 286160"/>
              <a:gd name="connsiteY7" fmla="*/ 64780 h 280909"/>
              <a:gd name="connsiteX8" fmla="*/ 98581 w 286160"/>
              <a:gd name="connsiteY8" fmla="*/ 7810 h 280909"/>
              <a:gd name="connsiteX9" fmla="*/ 98450 w 286160"/>
              <a:gd name="connsiteY9" fmla="*/ 7810 h 280909"/>
              <a:gd name="connsiteX10" fmla="*/ 96743 w 286160"/>
              <a:gd name="connsiteY10" fmla="*/ 6366 h 280909"/>
              <a:gd name="connsiteX11" fmla="*/ 95956 w 286160"/>
              <a:gd name="connsiteY11" fmla="*/ 5710 h 280909"/>
              <a:gd name="connsiteX12" fmla="*/ 94905 w 286160"/>
              <a:gd name="connsiteY12" fmla="*/ 4922 h 280909"/>
              <a:gd name="connsiteX13" fmla="*/ 93855 w 286160"/>
              <a:gd name="connsiteY13" fmla="*/ 4266 h 280909"/>
              <a:gd name="connsiteX14" fmla="*/ 92937 w 286160"/>
              <a:gd name="connsiteY14" fmla="*/ 3741 h 280909"/>
              <a:gd name="connsiteX15" fmla="*/ 91886 w 286160"/>
              <a:gd name="connsiteY15" fmla="*/ 3216 h 280909"/>
              <a:gd name="connsiteX16" fmla="*/ 90836 w 286160"/>
              <a:gd name="connsiteY16" fmla="*/ 2691 h 280909"/>
              <a:gd name="connsiteX17" fmla="*/ 89786 w 286160"/>
              <a:gd name="connsiteY17" fmla="*/ 2297 h 280909"/>
              <a:gd name="connsiteX18" fmla="*/ 88605 w 286160"/>
              <a:gd name="connsiteY18" fmla="*/ 1903 h 280909"/>
              <a:gd name="connsiteX19" fmla="*/ 87554 w 286160"/>
              <a:gd name="connsiteY19" fmla="*/ 1641 h 280909"/>
              <a:gd name="connsiteX20" fmla="*/ 86373 w 286160"/>
              <a:gd name="connsiteY20" fmla="*/ 1378 h 280909"/>
              <a:gd name="connsiteX21" fmla="*/ 85192 w 286160"/>
              <a:gd name="connsiteY21" fmla="*/ 1247 h 280909"/>
              <a:gd name="connsiteX22" fmla="*/ 84142 w 286160"/>
              <a:gd name="connsiteY22" fmla="*/ 1116 h 280909"/>
              <a:gd name="connsiteX23" fmla="*/ 81779 w 286160"/>
              <a:gd name="connsiteY23" fmla="*/ 984 h 280909"/>
              <a:gd name="connsiteX24" fmla="*/ 81779 w 286160"/>
              <a:gd name="connsiteY24" fmla="*/ 984 h 280909"/>
              <a:gd name="connsiteX25" fmla="*/ 81779 w 286160"/>
              <a:gd name="connsiteY25" fmla="*/ 984 h 280909"/>
              <a:gd name="connsiteX26" fmla="*/ 81779 w 286160"/>
              <a:gd name="connsiteY26" fmla="*/ 984 h 280909"/>
              <a:gd name="connsiteX27" fmla="*/ 79416 w 286160"/>
              <a:gd name="connsiteY27" fmla="*/ 1116 h 280909"/>
              <a:gd name="connsiteX28" fmla="*/ 78366 w 286160"/>
              <a:gd name="connsiteY28" fmla="*/ 1247 h 280909"/>
              <a:gd name="connsiteX29" fmla="*/ 77053 w 286160"/>
              <a:gd name="connsiteY29" fmla="*/ 1378 h 280909"/>
              <a:gd name="connsiteX30" fmla="*/ 75872 w 286160"/>
              <a:gd name="connsiteY30" fmla="*/ 1641 h 280909"/>
              <a:gd name="connsiteX31" fmla="*/ 74691 w 286160"/>
              <a:gd name="connsiteY31" fmla="*/ 1903 h 280909"/>
              <a:gd name="connsiteX32" fmla="*/ 73640 w 286160"/>
              <a:gd name="connsiteY32" fmla="*/ 2297 h 280909"/>
              <a:gd name="connsiteX33" fmla="*/ 72590 w 286160"/>
              <a:gd name="connsiteY33" fmla="*/ 2691 h 280909"/>
              <a:gd name="connsiteX34" fmla="*/ 71671 w 286160"/>
              <a:gd name="connsiteY34" fmla="*/ 3085 h 280909"/>
              <a:gd name="connsiteX35" fmla="*/ 70490 w 286160"/>
              <a:gd name="connsiteY35" fmla="*/ 3610 h 280909"/>
              <a:gd name="connsiteX36" fmla="*/ 69571 w 286160"/>
              <a:gd name="connsiteY36" fmla="*/ 4135 h 280909"/>
              <a:gd name="connsiteX37" fmla="*/ 68521 w 286160"/>
              <a:gd name="connsiteY37" fmla="*/ 4791 h 280909"/>
              <a:gd name="connsiteX38" fmla="*/ 67602 w 286160"/>
              <a:gd name="connsiteY38" fmla="*/ 5447 h 280909"/>
              <a:gd name="connsiteX39" fmla="*/ 66815 w 286160"/>
              <a:gd name="connsiteY39" fmla="*/ 6104 h 280909"/>
              <a:gd name="connsiteX40" fmla="*/ 66683 w 286160"/>
              <a:gd name="connsiteY40" fmla="*/ 6104 h 280909"/>
              <a:gd name="connsiteX41" fmla="*/ 64977 w 286160"/>
              <a:gd name="connsiteY41" fmla="*/ 7548 h 280909"/>
              <a:gd name="connsiteX42" fmla="*/ 64846 w 286160"/>
              <a:gd name="connsiteY42" fmla="*/ 7679 h 280909"/>
              <a:gd name="connsiteX43" fmla="*/ 7876 w 286160"/>
              <a:gd name="connsiteY43" fmla="*/ 64649 h 280909"/>
              <a:gd name="connsiteX44" fmla="*/ 7876 w 286160"/>
              <a:gd name="connsiteY44" fmla="*/ 98121 h 280909"/>
              <a:gd name="connsiteX45" fmla="*/ 24547 w 286160"/>
              <a:gd name="connsiteY45" fmla="*/ 105078 h 280909"/>
              <a:gd name="connsiteX46" fmla="*/ 41218 w 286160"/>
              <a:gd name="connsiteY46" fmla="*/ 98121 h 280909"/>
              <a:gd name="connsiteX47" fmla="*/ 57889 w 286160"/>
              <a:gd name="connsiteY47" fmla="*/ 81450 h 280909"/>
              <a:gd name="connsiteX48" fmla="*/ 57889 w 286160"/>
              <a:gd name="connsiteY48" fmla="*/ 152334 h 280909"/>
              <a:gd name="connsiteX49" fmla="*/ 120109 w 286160"/>
              <a:gd name="connsiteY49" fmla="*/ 261285 h 280909"/>
              <a:gd name="connsiteX50" fmla="*/ 262533 w 286160"/>
              <a:gd name="connsiteY50" fmla="*/ 280319 h 280909"/>
              <a:gd name="connsiteX51" fmla="*/ 286161 w 286160"/>
              <a:gd name="connsiteY51" fmla="*/ 256691 h 280909"/>
              <a:gd name="connsiteX52" fmla="*/ 262926 w 286160"/>
              <a:gd name="connsiteY52" fmla="*/ 233063 h 280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286160" h="280909">
                <a:moveTo>
                  <a:pt x="262926" y="233063"/>
                </a:moveTo>
                <a:cubicBezTo>
                  <a:pt x="208582" y="233063"/>
                  <a:pt x="166839" y="230569"/>
                  <a:pt x="140192" y="218361"/>
                </a:cubicBezTo>
                <a:cubicBezTo>
                  <a:pt x="122996" y="210485"/>
                  <a:pt x="105538" y="196571"/>
                  <a:pt x="105538" y="152466"/>
                </a:cubicBezTo>
                <a:lnTo>
                  <a:pt x="105538" y="81582"/>
                </a:lnTo>
                <a:lnTo>
                  <a:pt x="122209" y="98253"/>
                </a:lnTo>
                <a:cubicBezTo>
                  <a:pt x="126803" y="102847"/>
                  <a:pt x="132841" y="105210"/>
                  <a:pt x="138880" y="105210"/>
                </a:cubicBezTo>
                <a:cubicBezTo>
                  <a:pt x="144918" y="105210"/>
                  <a:pt x="150956" y="102847"/>
                  <a:pt x="155550" y="98253"/>
                </a:cubicBezTo>
                <a:cubicBezTo>
                  <a:pt x="164739" y="89064"/>
                  <a:pt x="164739" y="74100"/>
                  <a:pt x="155550" y="64780"/>
                </a:cubicBezTo>
                <a:lnTo>
                  <a:pt x="98581" y="7810"/>
                </a:lnTo>
                <a:cubicBezTo>
                  <a:pt x="98581" y="7810"/>
                  <a:pt x="98581" y="7810"/>
                  <a:pt x="98450" y="7810"/>
                </a:cubicBezTo>
                <a:cubicBezTo>
                  <a:pt x="97925" y="7285"/>
                  <a:pt x="97399" y="6760"/>
                  <a:pt x="96743" y="6366"/>
                </a:cubicBezTo>
                <a:cubicBezTo>
                  <a:pt x="96481" y="6104"/>
                  <a:pt x="96218" y="5972"/>
                  <a:pt x="95956" y="5710"/>
                </a:cubicBezTo>
                <a:cubicBezTo>
                  <a:pt x="95562" y="5447"/>
                  <a:pt x="95299" y="5185"/>
                  <a:pt x="94905" y="4922"/>
                </a:cubicBezTo>
                <a:cubicBezTo>
                  <a:pt x="94512" y="4660"/>
                  <a:pt x="94249" y="4529"/>
                  <a:pt x="93855" y="4266"/>
                </a:cubicBezTo>
                <a:cubicBezTo>
                  <a:pt x="93593" y="4135"/>
                  <a:pt x="93199" y="3872"/>
                  <a:pt x="92937" y="3741"/>
                </a:cubicBezTo>
                <a:cubicBezTo>
                  <a:pt x="92543" y="3610"/>
                  <a:pt x="92280" y="3347"/>
                  <a:pt x="91886" y="3216"/>
                </a:cubicBezTo>
                <a:cubicBezTo>
                  <a:pt x="91492" y="3085"/>
                  <a:pt x="91230" y="2822"/>
                  <a:pt x="90836" y="2691"/>
                </a:cubicBezTo>
                <a:cubicBezTo>
                  <a:pt x="90443" y="2560"/>
                  <a:pt x="90180" y="2428"/>
                  <a:pt x="89786" y="2297"/>
                </a:cubicBezTo>
                <a:cubicBezTo>
                  <a:pt x="89392" y="2166"/>
                  <a:pt x="88999" y="2034"/>
                  <a:pt x="88605" y="1903"/>
                </a:cubicBezTo>
                <a:cubicBezTo>
                  <a:pt x="88211" y="1772"/>
                  <a:pt x="87948" y="1772"/>
                  <a:pt x="87554" y="1641"/>
                </a:cubicBezTo>
                <a:cubicBezTo>
                  <a:pt x="87161" y="1509"/>
                  <a:pt x="86767" y="1378"/>
                  <a:pt x="86373" y="1378"/>
                </a:cubicBezTo>
                <a:cubicBezTo>
                  <a:pt x="85979" y="1247"/>
                  <a:pt x="85585" y="1247"/>
                  <a:pt x="85192" y="1247"/>
                </a:cubicBezTo>
                <a:cubicBezTo>
                  <a:pt x="84798" y="1247"/>
                  <a:pt x="84536" y="1116"/>
                  <a:pt x="84142" y="1116"/>
                </a:cubicBezTo>
                <a:cubicBezTo>
                  <a:pt x="83354" y="984"/>
                  <a:pt x="82567" y="984"/>
                  <a:pt x="81779" y="984"/>
                </a:cubicBezTo>
                <a:cubicBezTo>
                  <a:pt x="81779" y="984"/>
                  <a:pt x="81779" y="984"/>
                  <a:pt x="81779" y="984"/>
                </a:cubicBezTo>
                <a:cubicBezTo>
                  <a:pt x="81779" y="984"/>
                  <a:pt x="81779" y="984"/>
                  <a:pt x="81779" y="984"/>
                </a:cubicBezTo>
                <a:cubicBezTo>
                  <a:pt x="81779" y="984"/>
                  <a:pt x="81779" y="984"/>
                  <a:pt x="81779" y="984"/>
                </a:cubicBezTo>
                <a:cubicBezTo>
                  <a:pt x="80991" y="984"/>
                  <a:pt x="80204" y="984"/>
                  <a:pt x="79416" y="1116"/>
                </a:cubicBezTo>
                <a:cubicBezTo>
                  <a:pt x="79022" y="1116"/>
                  <a:pt x="78760" y="1247"/>
                  <a:pt x="78366" y="1247"/>
                </a:cubicBezTo>
                <a:cubicBezTo>
                  <a:pt x="77972" y="1247"/>
                  <a:pt x="77447" y="1378"/>
                  <a:pt x="77053" y="1378"/>
                </a:cubicBezTo>
                <a:cubicBezTo>
                  <a:pt x="76660" y="1509"/>
                  <a:pt x="76266" y="1509"/>
                  <a:pt x="75872" y="1641"/>
                </a:cubicBezTo>
                <a:cubicBezTo>
                  <a:pt x="75478" y="1772"/>
                  <a:pt x="75084" y="1772"/>
                  <a:pt x="74691" y="1903"/>
                </a:cubicBezTo>
                <a:cubicBezTo>
                  <a:pt x="74297" y="2034"/>
                  <a:pt x="74034" y="2166"/>
                  <a:pt x="73640" y="2297"/>
                </a:cubicBezTo>
                <a:cubicBezTo>
                  <a:pt x="73247" y="2428"/>
                  <a:pt x="72853" y="2560"/>
                  <a:pt x="72590" y="2691"/>
                </a:cubicBezTo>
                <a:cubicBezTo>
                  <a:pt x="72196" y="2822"/>
                  <a:pt x="71934" y="2953"/>
                  <a:pt x="71671" y="3085"/>
                </a:cubicBezTo>
                <a:cubicBezTo>
                  <a:pt x="71278" y="3216"/>
                  <a:pt x="70884" y="3478"/>
                  <a:pt x="70490" y="3610"/>
                </a:cubicBezTo>
                <a:cubicBezTo>
                  <a:pt x="70227" y="3741"/>
                  <a:pt x="69834" y="4003"/>
                  <a:pt x="69571" y="4135"/>
                </a:cubicBezTo>
                <a:cubicBezTo>
                  <a:pt x="69177" y="4397"/>
                  <a:pt x="68784" y="4529"/>
                  <a:pt x="68521" y="4791"/>
                </a:cubicBezTo>
                <a:cubicBezTo>
                  <a:pt x="68258" y="5054"/>
                  <a:pt x="67865" y="5316"/>
                  <a:pt x="67602" y="5447"/>
                </a:cubicBezTo>
                <a:cubicBezTo>
                  <a:pt x="67340" y="5710"/>
                  <a:pt x="67077" y="5841"/>
                  <a:pt x="66815" y="6104"/>
                </a:cubicBezTo>
                <a:cubicBezTo>
                  <a:pt x="66815" y="6104"/>
                  <a:pt x="66815" y="6104"/>
                  <a:pt x="66683" y="6104"/>
                </a:cubicBezTo>
                <a:cubicBezTo>
                  <a:pt x="66158" y="6629"/>
                  <a:pt x="65502" y="7023"/>
                  <a:pt x="64977" y="7548"/>
                </a:cubicBezTo>
                <a:cubicBezTo>
                  <a:pt x="64977" y="7548"/>
                  <a:pt x="64977" y="7548"/>
                  <a:pt x="64846" y="7679"/>
                </a:cubicBezTo>
                <a:lnTo>
                  <a:pt x="7876" y="64649"/>
                </a:lnTo>
                <a:cubicBezTo>
                  <a:pt x="-1313" y="73837"/>
                  <a:pt x="-1313" y="88801"/>
                  <a:pt x="7876" y="98121"/>
                </a:cubicBezTo>
                <a:cubicBezTo>
                  <a:pt x="12470" y="102716"/>
                  <a:pt x="18509" y="105078"/>
                  <a:pt x="24547" y="105078"/>
                </a:cubicBezTo>
                <a:cubicBezTo>
                  <a:pt x="30585" y="105078"/>
                  <a:pt x="36623" y="102716"/>
                  <a:pt x="41218" y="98121"/>
                </a:cubicBezTo>
                <a:lnTo>
                  <a:pt x="57889" y="81450"/>
                </a:lnTo>
                <a:lnTo>
                  <a:pt x="57889" y="152334"/>
                </a:lnTo>
                <a:cubicBezTo>
                  <a:pt x="57889" y="206416"/>
                  <a:pt x="78235" y="241989"/>
                  <a:pt x="120109" y="261285"/>
                </a:cubicBezTo>
                <a:cubicBezTo>
                  <a:pt x="154632" y="277168"/>
                  <a:pt x="200181" y="280319"/>
                  <a:pt x="262533" y="280319"/>
                </a:cubicBezTo>
                <a:cubicBezTo>
                  <a:pt x="275528" y="280319"/>
                  <a:pt x="286161" y="269686"/>
                  <a:pt x="286161" y="256691"/>
                </a:cubicBezTo>
                <a:cubicBezTo>
                  <a:pt x="286161" y="243695"/>
                  <a:pt x="275921" y="233063"/>
                  <a:pt x="262926" y="23306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  <p:sp>
        <p:nvSpPr>
          <p:cNvPr id="22" name="Forma libre 6">
            <a:extLst>
              <a:ext uri="{FF2B5EF4-FFF2-40B4-BE49-F238E27FC236}">
                <a16:creationId xmlns:a16="http://schemas.microsoft.com/office/drawing/2014/main" id="{781E6DE1-1213-F341-EF4A-B7F34CDD5E91}"/>
              </a:ext>
            </a:extLst>
          </p:cNvPr>
          <p:cNvSpPr/>
          <p:nvPr/>
        </p:nvSpPr>
        <p:spPr>
          <a:xfrm>
            <a:off x="4504804" y="2121391"/>
            <a:ext cx="516914" cy="555702"/>
          </a:xfrm>
          <a:custGeom>
            <a:avLst/>
            <a:gdLst>
              <a:gd name="connsiteX0" fmla="*/ 317463 w 452622"/>
              <a:gd name="connsiteY0" fmla="*/ 34297 h 486587"/>
              <a:gd name="connsiteX1" fmla="*/ 260018 w 452622"/>
              <a:gd name="connsiteY1" fmla="*/ 34224 h 486587"/>
              <a:gd name="connsiteX2" fmla="*/ 255366 w 452622"/>
              <a:gd name="connsiteY2" fmla="*/ 27652 h 486587"/>
              <a:gd name="connsiteX3" fmla="*/ 168829 w 452622"/>
              <a:gd name="connsiteY3" fmla="*/ 554 h 486587"/>
              <a:gd name="connsiteX4" fmla="*/ 82292 w 452622"/>
              <a:gd name="connsiteY4" fmla="*/ 27652 h 486587"/>
              <a:gd name="connsiteX5" fmla="*/ 77640 w 452622"/>
              <a:gd name="connsiteY5" fmla="*/ 34224 h 486587"/>
              <a:gd name="connsiteX6" fmla="*/ 20194 w 452622"/>
              <a:gd name="connsiteY6" fmla="*/ 34224 h 486587"/>
              <a:gd name="connsiteX7" fmla="*/ 554 w 452622"/>
              <a:gd name="connsiteY7" fmla="*/ 60805 h 486587"/>
              <a:gd name="connsiteX8" fmla="*/ 554 w 452622"/>
              <a:gd name="connsiteY8" fmla="*/ 471487 h 486587"/>
              <a:gd name="connsiteX9" fmla="*/ 15174 w 452622"/>
              <a:gd name="connsiteY9" fmla="*/ 486107 h 486587"/>
              <a:gd name="connsiteX10" fmla="*/ 322484 w 452622"/>
              <a:gd name="connsiteY10" fmla="*/ 486181 h 486587"/>
              <a:gd name="connsiteX11" fmla="*/ 337104 w 452622"/>
              <a:gd name="connsiteY11" fmla="*/ 471561 h 486587"/>
              <a:gd name="connsiteX12" fmla="*/ 337104 w 452622"/>
              <a:gd name="connsiteY12" fmla="*/ 60805 h 486587"/>
              <a:gd name="connsiteX13" fmla="*/ 317463 w 452622"/>
              <a:gd name="connsiteY13" fmla="*/ 34297 h 486587"/>
              <a:gd name="connsiteX14" fmla="*/ 103040 w 452622"/>
              <a:gd name="connsiteY14" fmla="*/ 44635 h 486587"/>
              <a:gd name="connsiteX15" fmla="*/ 168829 w 452622"/>
              <a:gd name="connsiteY15" fmla="*/ 27135 h 486587"/>
              <a:gd name="connsiteX16" fmla="*/ 234618 w 452622"/>
              <a:gd name="connsiteY16" fmla="*/ 44635 h 486587"/>
              <a:gd name="connsiteX17" fmla="*/ 234618 w 452622"/>
              <a:gd name="connsiteY17" fmla="*/ 47514 h 486587"/>
              <a:gd name="connsiteX18" fmla="*/ 103040 w 452622"/>
              <a:gd name="connsiteY18" fmla="*/ 47514 h 486587"/>
              <a:gd name="connsiteX19" fmla="*/ 103040 w 452622"/>
              <a:gd name="connsiteY19" fmla="*/ 44635 h 486587"/>
              <a:gd name="connsiteX20" fmla="*/ 310522 w 452622"/>
              <a:gd name="connsiteY20" fmla="*/ 459526 h 486587"/>
              <a:gd name="connsiteX21" fmla="*/ 27209 w 452622"/>
              <a:gd name="connsiteY21" fmla="*/ 459526 h 486587"/>
              <a:gd name="connsiteX22" fmla="*/ 27209 w 452622"/>
              <a:gd name="connsiteY22" fmla="*/ 60805 h 486587"/>
              <a:gd name="connsiteX23" fmla="*/ 76532 w 452622"/>
              <a:gd name="connsiteY23" fmla="*/ 60805 h 486587"/>
              <a:gd name="connsiteX24" fmla="*/ 92703 w 452622"/>
              <a:gd name="connsiteY24" fmla="*/ 74096 h 486587"/>
              <a:gd name="connsiteX25" fmla="*/ 245029 w 452622"/>
              <a:gd name="connsiteY25" fmla="*/ 74096 h 486587"/>
              <a:gd name="connsiteX26" fmla="*/ 261273 w 452622"/>
              <a:gd name="connsiteY26" fmla="*/ 60805 h 486587"/>
              <a:gd name="connsiteX27" fmla="*/ 310596 w 452622"/>
              <a:gd name="connsiteY27" fmla="*/ 60805 h 486587"/>
              <a:gd name="connsiteX28" fmla="*/ 310596 w 452622"/>
              <a:gd name="connsiteY28" fmla="*/ 459526 h 486587"/>
              <a:gd name="connsiteX29" fmla="*/ 268583 w 452622"/>
              <a:gd name="connsiteY29" fmla="*/ 153914 h 486587"/>
              <a:gd name="connsiteX30" fmla="*/ 281874 w 452622"/>
              <a:gd name="connsiteY30" fmla="*/ 167204 h 486587"/>
              <a:gd name="connsiteX31" fmla="*/ 268583 w 452622"/>
              <a:gd name="connsiteY31" fmla="*/ 180495 h 486587"/>
              <a:gd name="connsiteX32" fmla="*/ 162257 w 452622"/>
              <a:gd name="connsiteY32" fmla="*/ 180495 h 486587"/>
              <a:gd name="connsiteX33" fmla="*/ 148967 w 452622"/>
              <a:gd name="connsiteY33" fmla="*/ 167204 h 486587"/>
              <a:gd name="connsiteX34" fmla="*/ 162257 w 452622"/>
              <a:gd name="connsiteY34" fmla="*/ 153914 h 486587"/>
              <a:gd name="connsiteX35" fmla="*/ 268583 w 452622"/>
              <a:gd name="connsiteY35" fmla="*/ 153914 h 486587"/>
              <a:gd name="connsiteX36" fmla="*/ 281874 w 452622"/>
              <a:gd name="connsiteY36" fmla="*/ 273530 h 486587"/>
              <a:gd name="connsiteX37" fmla="*/ 268583 w 452622"/>
              <a:gd name="connsiteY37" fmla="*/ 286821 h 486587"/>
              <a:gd name="connsiteX38" fmla="*/ 162257 w 452622"/>
              <a:gd name="connsiteY38" fmla="*/ 286821 h 486587"/>
              <a:gd name="connsiteX39" fmla="*/ 148967 w 452622"/>
              <a:gd name="connsiteY39" fmla="*/ 273530 h 486587"/>
              <a:gd name="connsiteX40" fmla="*/ 162257 w 452622"/>
              <a:gd name="connsiteY40" fmla="*/ 260239 h 486587"/>
              <a:gd name="connsiteX41" fmla="*/ 268583 w 452622"/>
              <a:gd name="connsiteY41" fmla="*/ 260239 h 486587"/>
              <a:gd name="connsiteX42" fmla="*/ 281874 w 452622"/>
              <a:gd name="connsiteY42" fmla="*/ 273530 h 486587"/>
              <a:gd name="connsiteX43" fmla="*/ 281874 w 452622"/>
              <a:gd name="connsiteY43" fmla="*/ 379856 h 486587"/>
              <a:gd name="connsiteX44" fmla="*/ 268583 w 452622"/>
              <a:gd name="connsiteY44" fmla="*/ 393146 h 486587"/>
              <a:gd name="connsiteX45" fmla="*/ 162257 w 452622"/>
              <a:gd name="connsiteY45" fmla="*/ 393146 h 486587"/>
              <a:gd name="connsiteX46" fmla="*/ 148967 w 452622"/>
              <a:gd name="connsiteY46" fmla="*/ 379856 h 486587"/>
              <a:gd name="connsiteX47" fmla="*/ 162257 w 452622"/>
              <a:gd name="connsiteY47" fmla="*/ 366565 h 486587"/>
              <a:gd name="connsiteX48" fmla="*/ 268583 w 452622"/>
              <a:gd name="connsiteY48" fmla="*/ 366565 h 486587"/>
              <a:gd name="connsiteX49" fmla="*/ 281874 w 452622"/>
              <a:gd name="connsiteY49" fmla="*/ 379856 h 486587"/>
              <a:gd name="connsiteX50" fmla="*/ 69222 w 452622"/>
              <a:gd name="connsiteY50" fmla="*/ 207003 h 486587"/>
              <a:gd name="connsiteX51" fmla="*/ 122385 w 452622"/>
              <a:gd name="connsiteY51" fmla="*/ 207003 h 486587"/>
              <a:gd name="connsiteX52" fmla="*/ 135676 w 452622"/>
              <a:gd name="connsiteY52" fmla="*/ 193712 h 486587"/>
              <a:gd name="connsiteX53" fmla="*/ 135676 w 452622"/>
              <a:gd name="connsiteY53" fmla="*/ 140549 h 486587"/>
              <a:gd name="connsiteX54" fmla="*/ 122385 w 452622"/>
              <a:gd name="connsiteY54" fmla="*/ 127258 h 486587"/>
              <a:gd name="connsiteX55" fmla="*/ 69222 w 452622"/>
              <a:gd name="connsiteY55" fmla="*/ 127258 h 486587"/>
              <a:gd name="connsiteX56" fmla="*/ 55932 w 452622"/>
              <a:gd name="connsiteY56" fmla="*/ 140549 h 486587"/>
              <a:gd name="connsiteX57" fmla="*/ 55932 w 452622"/>
              <a:gd name="connsiteY57" fmla="*/ 193712 h 486587"/>
              <a:gd name="connsiteX58" fmla="*/ 69222 w 452622"/>
              <a:gd name="connsiteY58" fmla="*/ 207003 h 486587"/>
              <a:gd name="connsiteX59" fmla="*/ 82513 w 452622"/>
              <a:gd name="connsiteY59" fmla="*/ 153840 h 486587"/>
              <a:gd name="connsiteX60" fmla="*/ 109094 w 452622"/>
              <a:gd name="connsiteY60" fmla="*/ 153840 h 486587"/>
              <a:gd name="connsiteX61" fmla="*/ 109094 w 452622"/>
              <a:gd name="connsiteY61" fmla="*/ 180421 h 486587"/>
              <a:gd name="connsiteX62" fmla="*/ 82513 w 452622"/>
              <a:gd name="connsiteY62" fmla="*/ 180421 h 486587"/>
              <a:gd name="connsiteX63" fmla="*/ 82513 w 452622"/>
              <a:gd name="connsiteY63" fmla="*/ 153840 h 486587"/>
              <a:gd name="connsiteX64" fmla="*/ 122385 w 452622"/>
              <a:gd name="connsiteY64" fmla="*/ 233658 h 486587"/>
              <a:gd name="connsiteX65" fmla="*/ 69222 w 452622"/>
              <a:gd name="connsiteY65" fmla="*/ 233658 h 486587"/>
              <a:gd name="connsiteX66" fmla="*/ 55932 w 452622"/>
              <a:gd name="connsiteY66" fmla="*/ 246949 h 486587"/>
              <a:gd name="connsiteX67" fmla="*/ 55932 w 452622"/>
              <a:gd name="connsiteY67" fmla="*/ 300111 h 486587"/>
              <a:gd name="connsiteX68" fmla="*/ 69222 w 452622"/>
              <a:gd name="connsiteY68" fmla="*/ 313402 h 486587"/>
              <a:gd name="connsiteX69" fmla="*/ 122385 w 452622"/>
              <a:gd name="connsiteY69" fmla="*/ 313402 h 486587"/>
              <a:gd name="connsiteX70" fmla="*/ 135676 w 452622"/>
              <a:gd name="connsiteY70" fmla="*/ 300111 h 486587"/>
              <a:gd name="connsiteX71" fmla="*/ 135676 w 452622"/>
              <a:gd name="connsiteY71" fmla="*/ 246949 h 486587"/>
              <a:gd name="connsiteX72" fmla="*/ 122385 w 452622"/>
              <a:gd name="connsiteY72" fmla="*/ 233658 h 486587"/>
              <a:gd name="connsiteX73" fmla="*/ 109094 w 452622"/>
              <a:gd name="connsiteY73" fmla="*/ 286821 h 486587"/>
              <a:gd name="connsiteX74" fmla="*/ 82513 w 452622"/>
              <a:gd name="connsiteY74" fmla="*/ 286821 h 486587"/>
              <a:gd name="connsiteX75" fmla="*/ 82513 w 452622"/>
              <a:gd name="connsiteY75" fmla="*/ 260239 h 486587"/>
              <a:gd name="connsiteX76" fmla="*/ 109094 w 452622"/>
              <a:gd name="connsiteY76" fmla="*/ 260239 h 486587"/>
              <a:gd name="connsiteX77" fmla="*/ 109094 w 452622"/>
              <a:gd name="connsiteY77" fmla="*/ 286821 h 486587"/>
              <a:gd name="connsiteX78" fmla="*/ 122311 w 452622"/>
              <a:gd name="connsiteY78" fmla="*/ 339983 h 486587"/>
              <a:gd name="connsiteX79" fmla="*/ 69149 w 452622"/>
              <a:gd name="connsiteY79" fmla="*/ 339983 h 486587"/>
              <a:gd name="connsiteX80" fmla="*/ 55858 w 452622"/>
              <a:gd name="connsiteY80" fmla="*/ 353274 h 486587"/>
              <a:gd name="connsiteX81" fmla="*/ 55858 w 452622"/>
              <a:gd name="connsiteY81" fmla="*/ 406437 h 486587"/>
              <a:gd name="connsiteX82" fmla="*/ 69149 w 452622"/>
              <a:gd name="connsiteY82" fmla="*/ 419728 h 486587"/>
              <a:gd name="connsiteX83" fmla="*/ 122311 w 452622"/>
              <a:gd name="connsiteY83" fmla="*/ 419728 h 486587"/>
              <a:gd name="connsiteX84" fmla="*/ 135602 w 452622"/>
              <a:gd name="connsiteY84" fmla="*/ 406437 h 486587"/>
              <a:gd name="connsiteX85" fmla="*/ 135602 w 452622"/>
              <a:gd name="connsiteY85" fmla="*/ 353274 h 486587"/>
              <a:gd name="connsiteX86" fmla="*/ 122311 w 452622"/>
              <a:gd name="connsiteY86" fmla="*/ 339983 h 486587"/>
              <a:gd name="connsiteX87" fmla="*/ 109021 w 452622"/>
              <a:gd name="connsiteY87" fmla="*/ 393146 h 486587"/>
              <a:gd name="connsiteX88" fmla="*/ 82439 w 452622"/>
              <a:gd name="connsiteY88" fmla="*/ 393146 h 486587"/>
              <a:gd name="connsiteX89" fmla="*/ 82439 w 452622"/>
              <a:gd name="connsiteY89" fmla="*/ 366565 h 486587"/>
              <a:gd name="connsiteX90" fmla="*/ 109021 w 452622"/>
              <a:gd name="connsiteY90" fmla="*/ 366565 h 486587"/>
              <a:gd name="connsiteX91" fmla="*/ 109021 w 452622"/>
              <a:gd name="connsiteY91" fmla="*/ 393146 h 486587"/>
              <a:gd name="connsiteX92" fmla="*/ 450296 w 452622"/>
              <a:gd name="connsiteY92" fmla="*/ 169493 h 486587"/>
              <a:gd name="connsiteX93" fmla="*/ 423715 w 452622"/>
              <a:gd name="connsiteY93" fmla="*/ 129621 h 486587"/>
              <a:gd name="connsiteX94" fmla="*/ 412565 w 452622"/>
              <a:gd name="connsiteY94" fmla="*/ 123714 h 486587"/>
              <a:gd name="connsiteX95" fmla="*/ 401490 w 452622"/>
              <a:gd name="connsiteY95" fmla="*/ 129769 h 486587"/>
              <a:gd name="connsiteX96" fmla="*/ 375425 w 452622"/>
              <a:gd name="connsiteY96" fmla="*/ 169641 h 486587"/>
              <a:gd name="connsiteX97" fmla="*/ 373284 w 452622"/>
              <a:gd name="connsiteY97" fmla="*/ 176877 h 486587"/>
              <a:gd name="connsiteX98" fmla="*/ 372767 w 452622"/>
              <a:gd name="connsiteY98" fmla="*/ 469199 h 486587"/>
              <a:gd name="connsiteX99" fmla="*/ 376681 w 452622"/>
              <a:gd name="connsiteY99" fmla="*/ 478576 h 486587"/>
              <a:gd name="connsiteX100" fmla="*/ 386058 w 452622"/>
              <a:gd name="connsiteY100" fmla="*/ 482489 h 486587"/>
              <a:gd name="connsiteX101" fmla="*/ 439221 w 452622"/>
              <a:gd name="connsiteY101" fmla="*/ 482489 h 486587"/>
              <a:gd name="connsiteX102" fmla="*/ 452511 w 452622"/>
              <a:gd name="connsiteY102" fmla="*/ 469199 h 486587"/>
              <a:gd name="connsiteX103" fmla="*/ 452511 w 452622"/>
              <a:gd name="connsiteY103" fmla="*/ 176803 h 486587"/>
              <a:gd name="connsiteX104" fmla="*/ 450296 w 452622"/>
              <a:gd name="connsiteY104" fmla="*/ 169493 h 486587"/>
              <a:gd name="connsiteX105" fmla="*/ 412713 w 452622"/>
              <a:gd name="connsiteY105" fmla="*/ 161076 h 486587"/>
              <a:gd name="connsiteX106" fmla="*/ 425930 w 452622"/>
              <a:gd name="connsiteY106" fmla="*/ 180864 h 486587"/>
              <a:gd name="connsiteX107" fmla="*/ 425930 w 452622"/>
              <a:gd name="connsiteY107" fmla="*/ 416110 h 486587"/>
              <a:gd name="connsiteX108" fmla="*/ 399422 w 452622"/>
              <a:gd name="connsiteY108" fmla="*/ 416110 h 486587"/>
              <a:gd name="connsiteX109" fmla="*/ 399865 w 452622"/>
              <a:gd name="connsiteY109" fmla="*/ 180864 h 486587"/>
              <a:gd name="connsiteX110" fmla="*/ 412713 w 452622"/>
              <a:gd name="connsiteY110" fmla="*/ 161076 h 486587"/>
              <a:gd name="connsiteX111" fmla="*/ 399349 w 452622"/>
              <a:gd name="connsiteY111" fmla="*/ 455982 h 486587"/>
              <a:gd name="connsiteX112" fmla="*/ 399349 w 452622"/>
              <a:gd name="connsiteY112" fmla="*/ 442691 h 486587"/>
              <a:gd name="connsiteX113" fmla="*/ 425856 w 452622"/>
              <a:gd name="connsiteY113" fmla="*/ 442691 h 486587"/>
              <a:gd name="connsiteX114" fmla="*/ 425856 w 452622"/>
              <a:gd name="connsiteY114" fmla="*/ 455982 h 486587"/>
              <a:gd name="connsiteX115" fmla="*/ 399349 w 452622"/>
              <a:gd name="connsiteY115" fmla="*/ 455982 h 48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452622" h="486587">
                <a:moveTo>
                  <a:pt x="317463" y="34297"/>
                </a:moveTo>
                <a:lnTo>
                  <a:pt x="260018" y="34224"/>
                </a:lnTo>
                <a:cubicBezTo>
                  <a:pt x="259058" y="32008"/>
                  <a:pt x="257507" y="29793"/>
                  <a:pt x="255366" y="27652"/>
                </a:cubicBezTo>
                <a:cubicBezTo>
                  <a:pt x="238900" y="10965"/>
                  <a:pt x="205747" y="554"/>
                  <a:pt x="168829" y="554"/>
                </a:cubicBezTo>
                <a:cubicBezTo>
                  <a:pt x="131910" y="554"/>
                  <a:pt x="98757" y="10965"/>
                  <a:pt x="82292" y="27652"/>
                </a:cubicBezTo>
                <a:cubicBezTo>
                  <a:pt x="80150" y="29793"/>
                  <a:pt x="78600" y="32008"/>
                  <a:pt x="77640" y="34224"/>
                </a:cubicBezTo>
                <a:lnTo>
                  <a:pt x="20194" y="34224"/>
                </a:lnTo>
                <a:cubicBezTo>
                  <a:pt x="8824" y="34224"/>
                  <a:pt x="554" y="45373"/>
                  <a:pt x="554" y="60805"/>
                </a:cubicBezTo>
                <a:lnTo>
                  <a:pt x="554" y="471487"/>
                </a:lnTo>
                <a:cubicBezTo>
                  <a:pt x="554" y="479536"/>
                  <a:pt x="7125" y="486107"/>
                  <a:pt x="15174" y="486107"/>
                </a:cubicBezTo>
                <a:lnTo>
                  <a:pt x="322484" y="486181"/>
                </a:lnTo>
                <a:cubicBezTo>
                  <a:pt x="330532" y="486181"/>
                  <a:pt x="337104" y="479610"/>
                  <a:pt x="337104" y="471561"/>
                </a:cubicBezTo>
                <a:lnTo>
                  <a:pt x="337104" y="60805"/>
                </a:lnTo>
                <a:cubicBezTo>
                  <a:pt x="337104" y="45447"/>
                  <a:pt x="328834" y="34297"/>
                  <a:pt x="317463" y="34297"/>
                </a:cubicBezTo>
                <a:moveTo>
                  <a:pt x="103040" y="44635"/>
                </a:moveTo>
                <a:cubicBezTo>
                  <a:pt x="113525" y="35700"/>
                  <a:pt x="137153" y="27135"/>
                  <a:pt x="168829" y="27135"/>
                </a:cubicBezTo>
                <a:cubicBezTo>
                  <a:pt x="200505" y="27135"/>
                  <a:pt x="224133" y="35700"/>
                  <a:pt x="234618" y="44635"/>
                </a:cubicBezTo>
                <a:lnTo>
                  <a:pt x="234618" y="47514"/>
                </a:lnTo>
                <a:lnTo>
                  <a:pt x="103040" y="47514"/>
                </a:lnTo>
                <a:lnTo>
                  <a:pt x="103040" y="44635"/>
                </a:lnTo>
                <a:close/>
                <a:moveTo>
                  <a:pt x="310522" y="459526"/>
                </a:moveTo>
                <a:lnTo>
                  <a:pt x="27209" y="459526"/>
                </a:lnTo>
                <a:lnTo>
                  <a:pt x="27209" y="60805"/>
                </a:lnTo>
                <a:lnTo>
                  <a:pt x="76532" y="60805"/>
                </a:lnTo>
                <a:cubicBezTo>
                  <a:pt x="76754" y="66047"/>
                  <a:pt x="80446" y="74096"/>
                  <a:pt x="92703" y="74096"/>
                </a:cubicBezTo>
                <a:lnTo>
                  <a:pt x="245029" y="74096"/>
                </a:lnTo>
                <a:cubicBezTo>
                  <a:pt x="257360" y="74096"/>
                  <a:pt x="260978" y="66047"/>
                  <a:pt x="261273" y="60805"/>
                </a:cubicBezTo>
                <a:lnTo>
                  <a:pt x="310596" y="60805"/>
                </a:lnTo>
                <a:lnTo>
                  <a:pt x="310596" y="459526"/>
                </a:lnTo>
                <a:close/>
                <a:moveTo>
                  <a:pt x="268583" y="153914"/>
                </a:moveTo>
                <a:cubicBezTo>
                  <a:pt x="275893" y="153914"/>
                  <a:pt x="281874" y="159894"/>
                  <a:pt x="281874" y="167204"/>
                </a:cubicBezTo>
                <a:cubicBezTo>
                  <a:pt x="281874" y="174514"/>
                  <a:pt x="275893" y="180495"/>
                  <a:pt x="268583" y="180495"/>
                </a:cubicBezTo>
                <a:lnTo>
                  <a:pt x="162257" y="180495"/>
                </a:lnTo>
                <a:cubicBezTo>
                  <a:pt x="154947" y="180495"/>
                  <a:pt x="148967" y="174514"/>
                  <a:pt x="148967" y="167204"/>
                </a:cubicBezTo>
                <a:cubicBezTo>
                  <a:pt x="148967" y="159894"/>
                  <a:pt x="154947" y="153914"/>
                  <a:pt x="162257" y="153914"/>
                </a:cubicBezTo>
                <a:lnTo>
                  <a:pt x="268583" y="153914"/>
                </a:lnTo>
                <a:close/>
                <a:moveTo>
                  <a:pt x="281874" y="273530"/>
                </a:moveTo>
                <a:cubicBezTo>
                  <a:pt x="281874" y="280840"/>
                  <a:pt x="275893" y="286821"/>
                  <a:pt x="268583" y="286821"/>
                </a:cubicBezTo>
                <a:lnTo>
                  <a:pt x="162257" y="286821"/>
                </a:lnTo>
                <a:cubicBezTo>
                  <a:pt x="154947" y="286821"/>
                  <a:pt x="148967" y="280840"/>
                  <a:pt x="148967" y="273530"/>
                </a:cubicBezTo>
                <a:cubicBezTo>
                  <a:pt x="148967" y="266220"/>
                  <a:pt x="154947" y="260239"/>
                  <a:pt x="162257" y="260239"/>
                </a:cubicBezTo>
                <a:lnTo>
                  <a:pt x="268583" y="260239"/>
                </a:lnTo>
                <a:cubicBezTo>
                  <a:pt x="275893" y="260239"/>
                  <a:pt x="281874" y="266220"/>
                  <a:pt x="281874" y="273530"/>
                </a:cubicBezTo>
                <a:moveTo>
                  <a:pt x="281874" y="379856"/>
                </a:moveTo>
                <a:cubicBezTo>
                  <a:pt x="281874" y="387165"/>
                  <a:pt x="275893" y="393146"/>
                  <a:pt x="268583" y="393146"/>
                </a:cubicBezTo>
                <a:lnTo>
                  <a:pt x="162257" y="393146"/>
                </a:lnTo>
                <a:cubicBezTo>
                  <a:pt x="154947" y="393146"/>
                  <a:pt x="148967" y="387165"/>
                  <a:pt x="148967" y="379856"/>
                </a:cubicBezTo>
                <a:cubicBezTo>
                  <a:pt x="148967" y="372546"/>
                  <a:pt x="154947" y="366565"/>
                  <a:pt x="162257" y="366565"/>
                </a:cubicBezTo>
                <a:lnTo>
                  <a:pt x="268583" y="366565"/>
                </a:lnTo>
                <a:cubicBezTo>
                  <a:pt x="275893" y="366565"/>
                  <a:pt x="281874" y="372546"/>
                  <a:pt x="281874" y="379856"/>
                </a:cubicBezTo>
                <a:moveTo>
                  <a:pt x="69222" y="207003"/>
                </a:moveTo>
                <a:lnTo>
                  <a:pt x="122385" y="207003"/>
                </a:lnTo>
                <a:cubicBezTo>
                  <a:pt x="129695" y="207003"/>
                  <a:pt x="135676" y="201022"/>
                  <a:pt x="135676" y="193712"/>
                </a:cubicBezTo>
                <a:lnTo>
                  <a:pt x="135676" y="140549"/>
                </a:lnTo>
                <a:cubicBezTo>
                  <a:pt x="135676" y="133239"/>
                  <a:pt x="129695" y="127258"/>
                  <a:pt x="122385" y="127258"/>
                </a:cubicBezTo>
                <a:lnTo>
                  <a:pt x="69222" y="127258"/>
                </a:lnTo>
                <a:cubicBezTo>
                  <a:pt x="61913" y="127258"/>
                  <a:pt x="55932" y="133239"/>
                  <a:pt x="55932" y="140549"/>
                </a:cubicBezTo>
                <a:lnTo>
                  <a:pt x="55932" y="193712"/>
                </a:lnTo>
                <a:cubicBezTo>
                  <a:pt x="55932" y="201022"/>
                  <a:pt x="61913" y="207003"/>
                  <a:pt x="69222" y="207003"/>
                </a:cubicBezTo>
                <a:moveTo>
                  <a:pt x="82513" y="153840"/>
                </a:moveTo>
                <a:lnTo>
                  <a:pt x="109094" y="153840"/>
                </a:lnTo>
                <a:lnTo>
                  <a:pt x="109094" y="180421"/>
                </a:lnTo>
                <a:lnTo>
                  <a:pt x="82513" y="180421"/>
                </a:lnTo>
                <a:lnTo>
                  <a:pt x="82513" y="153840"/>
                </a:lnTo>
                <a:close/>
                <a:moveTo>
                  <a:pt x="122385" y="233658"/>
                </a:moveTo>
                <a:lnTo>
                  <a:pt x="69222" y="233658"/>
                </a:lnTo>
                <a:cubicBezTo>
                  <a:pt x="61913" y="233658"/>
                  <a:pt x="55932" y="239639"/>
                  <a:pt x="55932" y="246949"/>
                </a:cubicBezTo>
                <a:lnTo>
                  <a:pt x="55932" y="300111"/>
                </a:lnTo>
                <a:cubicBezTo>
                  <a:pt x="55932" y="307421"/>
                  <a:pt x="61913" y="313402"/>
                  <a:pt x="69222" y="313402"/>
                </a:cubicBezTo>
                <a:lnTo>
                  <a:pt x="122385" y="313402"/>
                </a:lnTo>
                <a:cubicBezTo>
                  <a:pt x="129695" y="313402"/>
                  <a:pt x="135676" y="307421"/>
                  <a:pt x="135676" y="300111"/>
                </a:cubicBezTo>
                <a:lnTo>
                  <a:pt x="135676" y="246949"/>
                </a:lnTo>
                <a:cubicBezTo>
                  <a:pt x="135676" y="239639"/>
                  <a:pt x="129769" y="233658"/>
                  <a:pt x="122385" y="233658"/>
                </a:cubicBezTo>
                <a:moveTo>
                  <a:pt x="109094" y="286821"/>
                </a:moveTo>
                <a:lnTo>
                  <a:pt x="82513" y="286821"/>
                </a:lnTo>
                <a:lnTo>
                  <a:pt x="82513" y="260239"/>
                </a:lnTo>
                <a:lnTo>
                  <a:pt x="109094" y="260239"/>
                </a:lnTo>
                <a:lnTo>
                  <a:pt x="109094" y="286821"/>
                </a:lnTo>
                <a:close/>
                <a:moveTo>
                  <a:pt x="122311" y="339983"/>
                </a:moveTo>
                <a:lnTo>
                  <a:pt x="69149" y="339983"/>
                </a:lnTo>
                <a:cubicBezTo>
                  <a:pt x="61839" y="339983"/>
                  <a:pt x="55858" y="345964"/>
                  <a:pt x="55858" y="353274"/>
                </a:cubicBezTo>
                <a:lnTo>
                  <a:pt x="55858" y="406437"/>
                </a:lnTo>
                <a:cubicBezTo>
                  <a:pt x="55858" y="413747"/>
                  <a:pt x="61839" y="419728"/>
                  <a:pt x="69149" y="419728"/>
                </a:cubicBezTo>
                <a:lnTo>
                  <a:pt x="122311" y="419728"/>
                </a:lnTo>
                <a:cubicBezTo>
                  <a:pt x="129621" y="419728"/>
                  <a:pt x="135602" y="413747"/>
                  <a:pt x="135602" y="406437"/>
                </a:cubicBezTo>
                <a:lnTo>
                  <a:pt x="135602" y="353274"/>
                </a:lnTo>
                <a:cubicBezTo>
                  <a:pt x="135602" y="345964"/>
                  <a:pt x="129621" y="339983"/>
                  <a:pt x="122311" y="339983"/>
                </a:cubicBezTo>
                <a:moveTo>
                  <a:pt x="109021" y="393146"/>
                </a:moveTo>
                <a:lnTo>
                  <a:pt x="82439" y="393146"/>
                </a:lnTo>
                <a:lnTo>
                  <a:pt x="82439" y="366565"/>
                </a:lnTo>
                <a:lnTo>
                  <a:pt x="109021" y="366565"/>
                </a:lnTo>
                <a:lnTo>
                  <a:pt x="109021" y="393146"/>
                </a:lnTo>
                <a:close/>
                <a:moveTo>
                  <a:pt x="450296" y="169493"/>
                </a:moveTo>
                <a:lnTo>
                  <a:pt x="423715" y="129621"/>
                </a:lnTo>
                <a:cubicBezTo>
                  <a:pt x="421204" y="125929"/>
                  <a:pt x="417069" y="123640"/>
                  <a:pt x="412565" y="123714"/>
                </a:cubicBezTo>
                <a:cubicBezTo>
                  <a:pt x="408135" y="123714"/>
                  <a:pt x="403926" y="126003"/>
                  <a:pt x="401490" y="129769"/>
                </a:cubicBezTo>
                <a:lnTo>
                  <a:pt x="375425" y="169641"/>
                </a:lnTo>
                <a:cubicBezTo>
                  <a:pt x="374022" y="171782"/>
                  <a:pt x="373284" y="174293"/>
                  <a:pt x="373284" y="176877"/>
                </a:cubicBezTo>
                <a:lnTo>
                  <a:pt x="372767" y="469199"/>
                </a:lnTo>
                <a:cubicBezTo>
                  <a:pt x="372767" y="472743"/>
                  <a:pt x="374170" y="476139"/>
                  <a:pt x="376681" y="478576"/>
                </a:cubicBezTo>
                <a:cubicBezTo>
                  <a:pt x="379191" y="481086"/>
                  <a:pt x="382588" y="482489"/>
                  <a:pt x="386058" y="482489"/>
                </a:cubicBezTo>
                <a:lnTo>
                  <a:pt x="439221" y="482489"/>
                </a:lnTo>
                <a:cubicBezTo>
                  <a:pt x="446531" y="482489"/>
                  <a:pt x="452511" y="476508"/>
                  <a:pt x="452511" y="469199"/>
                </a:cubicBezTo>
                <a:lnTo>
                  <a:pt x="452511" y="176803"/>
                </a:lnTo>
                <a:cubicBezTo>
                  <a:pt x="452511" y="174219"/>
                  <a:pt x="451773" y="171635"/>
                  <a:pt x="450296" y="169493"/>
                </a:cubicBezTo>
                <a:moveTo>
                  <a:pt x="412713" y="161076"/>
                </a:moveTo>
                <a:lnTo>
                  <a:pt x="425930" y="180864"/>
                </a:lnTo>
                <a:lnTo>
                  <a:pt x="425930" y="416110"/>
                </a:lnTo>
                <a:lnTo>
                  <a:pt x="399422" y="416110"/>
                </a:lnTo>
                <a:lnTo>
                  <a:pt x="399865" y="180864"/>
                </a:lnTo>
                <a:lnTo>
                  <a:pt x="412713" y="161076"/>
                </a:lnTo>
                <a:close/>
                <a:moveTo>
                  <a:pt x="399349" y="455982"/>
                </a:moveTo>
                <a:lnTo>
                  <a:pt x="399349" y="442691"/>
                </a:lnTo>
                <a:lnTo>
                  <a:pt x="425856" y="442691"/>
                </a:lnTo>
                <a:lnTo>
                  <a:pt x="425856" y="455982"/>
                </a:lnTo>
                <a:lnTo>
                  <a:pt x="399349" y="45598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MX" sz="1400" dirty="0"/>
          </a:p>
        </p:txBody>
      </p:sp>
    </p:spTree>
    <p:extLst>
      <p:ext uri="{BB962C8B-B14F-4D97-AF65-F5344CB8AC3E}">
        <p14:creationId xmlns:p14="http://schemas.microsoft.com/office/powerpoint/2010/main" val="4637465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3</TotalTime>
  <Words>42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Lato Light</vt:lpstr>
      <vt:lpstr>Roboto Medium</vt:lpstr>
      <vt:lpstr>Wingdings</vt:lpstr>
      <vt:lpstr>Office Theme</vt:lpstr>
      <vt:lpstr>think-cell Slide</vt:lpstr>
      <vt:lpstr>Facto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70</cp:revision>
  <dcterms:created xsi:type="dcterms:W3CDTF">2021-03-31T02:49:57Z</dcterms:created>
  <dcterms:modified xsi:type="dcterms:W3CDTF">2025-10-15T03:15:28Z</dcterms:modified>
  <cp:category/>
</cp:coreProperties>
</file>